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jpg" ContentType="image/jpeg"/>
  <Default Extension="mp4" ContentType="video/mp4"/>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2.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3.xml" ContentType="application/vnd.openxmlformats-officedocument.theme+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notesSlides/notesSlide4.xml" ContentType="application/vnd.openxmlformats-officedocument.presentationml.notesSlide+xml"/>
  <Override PartName="/ppt/tags/tag2.xml" ContentType="application/vnd.openxmlformats-officedocument.presentationml.tags+xml"/>
  <Override PartName="/ppt/notesSlides/notesSlide5.xml" ContentType="application/vnd.openxmlformats-officedocument.presentationml.notesSlide+xml"/>
  <Override PartName="/ppt/tags/tag3.xml" ContentType="application/vnd.openxmlformats-officedocument.presentationml.tags+xml"/>
  <Override PartName="/ppt/notesSlides/notesSlide6.xml" ContentType="application/vnd.openxmlformats-officedocument.presentationml.notesSlide+xml"/>
  <Override PartName="/ppt/tags/tag4.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5.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6.xml" ContentType="application/vnd.openxmlformats-officedocument.presentationml.tags+xml"/>
  <Override PartName="/ppt/notesSlides/notesSlide21.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22.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229" r:id="rId4"/>
    <p:sldMasterId id="2147484277" r:id="rId5"/>
    <p:sldMasterId id="2147484307" r:id="rId6"/>
    <p:sldMasterId id="2147484324" r:id="rId7"/>
  </p:sldMasterIdLst>
  <p:notesMasterIdLst>
    <p:notesMasterId r:id="rId51"/>
  </p:notesMasterIdLst>
  <p:handoutMasterIdLst>
    <p:handoutMasterId r:id="rId52"/>
  </p:handoutMasterIdLst>
  <p:sldIdLst>
    <p:sldId id="256" r:id="rId8"/>
    <p:sldId id="257" r:id="rId9"/>
    <p:sldId id="258" r:id="rId10"/>
    <p:sldId id="259" r:id="rId11"/>
    <p:sldId id="260" r:id="rId12"/>
    <p:sldId id="261" r:id="rId13"/>
    <p:sldId id="262" r:id="rId14"/>
    <p:sldId id="263" r:id="rId15"/>
    <p:sldId id="264" r:id="rId16"/>
    <p:sldId id="265" r:id="rId17"/>
    <p:sldId id="266" r:id="rId18"/>
    <p:sldId id="267" r:id="rId19"/>
    <p:sldId id="268" r:id="rId20"/>
    <p:sldId id="269" r:id="rId21"/>
    <p:sldId id="270" r:id="rId22"/>
    <p:sldId id="271" r:id="rId23"/>
    <p:sldId id="272" r:id="rId24"/>
    <p:sldId id="273" r:id="rId25"/>
    <p:sldId id="274" r:id="rId26"/>
    <p:sldId id="275" r:id="rId27"/>
    <p:sldId id="276" r:id="rId28"/>
    <p:sldId id="277" r:id="rId29"/>
    <p:sldId id="278" r:id="rId30"/>
    <p:sldId id="279" r:id="rId31"/>
    <p:sldId id="280" r:id="rId32"/>
    <p:sldId id="281" r:id="rId33"/>
    <p:sldId id="282" r:id="rId34"/>
    <p:sldId id="283" r:id="rId35"/>
    <p:sldId id="284" r:id="rId36"/>
    <p:sldId id="285" r:id="rId37"/>
    <p:sldId id="286" r:id="rId38"/>
    <p:sldId id="287" r:id="rId39"/>
    <p:sldId id="288" r:id="rId40"/>
    <p:sldId id="289" r:id="rId41"/>
    <p:sldId id="290" r:id="rId42"/>
    <p:sldId id="291" r:id="rId43"/>
    <p:sldId id="292" r:id="rId44"/>
    <p:sldId id="293" r:id="rId45"/>
    <p:sldId id="294" r:id="rId46"/>
    <p:sldId id="295" r:id="rId47"/>
    <p:sldId id="296" r:id="rId48"/>
    <p:sldId id="298" r:id="rId49"/>
    <p:sldId id="297" r:id="rId50"/>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47D8FF"/>
    <a:srgbClr val="11CCFF"/>
    <a:srgbClr val="85E5FF"/>
    <a:srgbClr val="43D7FF"/>
    <a:srgbClr val="B4A0FF"/>
    <a:srgbClr val="505050"/>
    <a:srgbClr val="000000"/>
    <a:srgbClr val="00BCF2"/>
    <a:srgbClr val="52525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025" autoAdjust="0"/>
    <p:restoredTop sz="94187" autoAdjust="0"/>
  </p:normalViewPr>
  <p:slideViewPr>
    <p:cSldViewPr>
      <p:cViewPr varScale="1">
        <p:scale>
          <a:sx n="114" d="100"/>
          <a:sy n="114" d="100"/>
        </p:scale>
        <p:origin x="84" y="258"/>
      </p:cViewPr>
      <p:guideLst/>
    </p:cSldViewPr>
  </p:slideViewPr>
  <p:outlineViewPr>
    <p:cViewPr>
      <p:scale>
        <a:sx n="33" d="100"/>
        <a:sy n="33" d="100"/>
      </p:scale>
      <p:origin x="0" y="-342"/>
    </p:cViewPr>
  </p:outlineViewPr>
  <p:notesTextViewPr>
    <p:cViewPr>
      <p:scale>
        <a:sx n="100" d="100"/>
        <a:sy n="100" d="100"/>
      </p:scale>
      <p:origin x="0" y="0"/>
    </p:cViewPr>
  </p:notesTextViewPr>
  <p:sorterViewPr>
    <p:cViewPr>
      <p:scale>
        <a:sx n="75" d="100"/>
        <a:sy n="75" d="100"/>
      </p:scale>
      <p:origin x="0" y="0"/>
    </p:cViewPr>
  </p:sorterViewPr>
  <p:notesViewPr>
    <p:cSldViewPr showGuides="1">
      <p:cViewPr varScale="1">
        <p:scale>
          <a:sx n="83" d="100"/>
          <a:sy n="83" d="100"/>
        </p:scale>
        <p:origin x="2994"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viewProps" Target="view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commentAuthors" Target="commentAuthors.xml"/><Relationship Id="rId5" Type="http://schemas.openxmlformats.org/officeDocument/2006/relationships/slideMaster" Target="slideMasters/slideMaster2.xml"/><Relationship Id="rId19" Type="http://schemas.openxmlformats.org/officeDocument/2006/relationships/slide" Target="slides/slide12.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theme" Target="theme/theme1.xml"/><Relationship Id="rId8" Type="http://schemas.openxmlformats.org/officeDocument/2006/relationships/slide" Target="slides/slide1.xml"/><Relationship Id="rId51" Type="http://schemas.openxmlformats.org/officeDocument/2006/relationships/notesMaster" Target="notesMasters/notesMaster1.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tableStyles" Target="tableStyles.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r>
              <a:rPr lang="en-US" dirty="0" smtClean="0">
                <a:latin typeface="Segoe UI" pitchFamily="34" charset="0"/>
              </a:rPr>
              <a:t>Microsoft Ignite 2015</a:t>
            </a:r>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5/6/2015 10:40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r>
              <a:rPr lang="en-US" dirty="0" smtClean="0"/>
              <a:t>Microsoft Ignite 2015</a:t>
            </a:r>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EEC551-8CDA-4EB6-89BB-2A86C9F091C8}" type="datetime8">
              <a:rPr lang="en-US" smtClean="0"/>
              <a:t>5/6/2015 10:40 A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dirty="0" smtClean="0">
                <a:solidFill>
                  <a:prstClr val="black"/>
                </a:solidFill>
              </a:rPr>
              <a:t>Microsoft Ignite 2015</a:t>
            </a: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5/6/2015 10:40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280499221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79400" y="1108075"/>
            <a:ext cx="9855200" cy="5543550"/>
          </a:xfrm>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p:txBody>
          <a:bodyPr/>
          <a:lstStyle/>
          <a:p>
            <a:fld id="{A18A1B17-96D1-4B0D-A2F5-3C55CDCC028D}" type="slidenum">
              <a:rPr lang="en-US" smtClean="0">
                <a:solidFill>
                  <a:prstClr val="black"/>
                </a:solidFill>
              </a:rPr>
              <a:pPr/>
              <a:t>16</a:t>
            </a:fld>
            <a:endParaRPr lang="en-US">
              <a:solidFill>
                <a:prstClr val="black"/>
              </a:solidFill>
            </a:endParaRPr>
          </a:p>
        </p:txBody>
      </p:sp>
    </p:spTree>
    <p:extLst>
      <p:ext uri="{BB962C8B-B14F-4D97-AF65-F5344CB8AC3E}">
        <p14:creationId xmlns:p14="http://schemas.microsoft.com/office/powerpoint/2010/main" val="172308154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6536ABA-8981-413B-8A18-047C59A07F6B}" type="slidenum">
              <a:rPr lang="en-US" smtClean="0">
                <a:solidFill>
                  <a:prstClr val="black"/>
                </a:solidFill>
              </a:rPr>
              <a:pPr/>
              <a:t>17</a:t>
            </a:fld>
            <a:endParaRPr lang="en-US">
              <a:solidFill>
                <a:prstClr val="black"/>
              </a:solidFill>
            </a:endParaRPr>
          </a:p>
        </p:txBody>
      </p:sp>
    </p:spTree>
    <p:extLst>
      <p:ext uri="{BB962C8B-B14F-4D97-AF65-F5344CB8AC3E}">
        <p14:creationId xmlns:p14="http://schemas.microsoft.com/office/powerpoint/2010/main" val="345275360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6536ABA-8981-413B-8A18-047C59A07F6B}" type="slidenum">
              <a:rPr lang="en-US" smtClean="0">
                <a:solidFill>
                  <a:prstClr val="black"/>
                </a:solidFill>
              </a:rPr>
              <a:pPr/>
              <a:t>18</a:t>
            </a:fld>
            <a:endParaRPr lang="en-US">
              <a:solidFill>
                <a:prstClr val="black"/>
              </a:solidFill>
            </a:endParaRPr>
          </a:p>
        </p:txBody>
      </p:sp>
    </p:spTree>
    <p:extLst>
      <p:ext uri="{BB962C8B-B14F-4D97-AF65-F5344CB8AC3E}">
        <p14:creationId xmlns:p14="http://schemas.microsoft.com/office/powerpoint/2010/main" val="320668888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6536ABA-8981-413B-8A18-047C59A07F6B}" type="slidenum">
              <a:rPr lang="en-US" smtClean="0">
                <a:solidFill>
                  <a:prstClr val="black"/>
                </a:solidFill>
              </a:rPr>
              <a:pPr/>
              <a:t>19</a:t>
            </a:fld>
            <a:endParaRPr lang="en-US">
              <a:solidFill>
                <a:prstClr val="black"/>
              </a:solidFill>
            </a:endParaRPr>
          </a:p>
        </p:txBody>
      </p:sp>
    </p:spTree>
    <p:extLst>
      <p:ext uri="{BB962C8B-B14F-4D97-AF65-F5344CB8AC3E}">
        <p14:creationId xmlns:p14="http://schemas.microsoft.com/office/powerpoint/2010/main" val="289996839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6536ABA-8981-413B-8A18-047C59A07F6B}" type="slidenum">
              <a:rPr lang="en-US" smtClean="0">
                <a:solidFill>
                  <a:prstClr val="black"/>
                </a:solidFill>
              </a:rPr>
              <a:pPr/>
              <a:t>20</a:t>
            </a:fld>
            <a:endParaRPr lang="en-US">
              <a:solidFill>
                <a:prstClr val="black"/>
              </a:solidFill>
            </a:endParaRPr>
          </a:p>
        </p:txBody>
      </p:sp>
    </p:spTree>
    <p:extLst>
      <p:ext uri="{BB962C8B-B14F-4D97-AF65-F5344CB8AC3E}">
        <p14:creationId xmlns:p14="http://schemas.microsoft.com/office/powerpoint/2010/main" val="220809308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6536ABA-8981-413B-8A18-047C59A07F6B}" type="slidenum">
              <a:rPr lang="en-US" smtClean="0">
                <a:solidFill>
                  <a:prstClr val="black"/>
                </a:solidFill>
              </a:rPr>
              <a:pPr/>
              <a:t>21</a:t>
            </a:fld>
            <a:endParaRPr lang="en-US">
              <a:solidFill>
                <a:prstClr val="black"/>
              </a:solidFill>
            </a:endParaRPr>
          </a:p>
        </p:txBody>
      </p:sp>
    </p:spTree>
    <p:extLst>
      <p:ext uri="{BB962C8B-B14F-4D97-AF65-F5344CB8AC3E}">
        <p14:creationId xmlns:p14="http://schemas.microsoft.com/office/powerpoint/2010/main" val="146833459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6536ABA-8981-413B-8A18-047C59A07F6B}" type="slidenum">
              <a:rPr lang="en-US" smtClean="0">
                <a:solidFill>
                  <a:prstClr val="black"/>
                </a:solidFill>
              </a:rPr>
              <a:pPr/>
              <a:t>22</a:t>
            </a:fld>
            <a:endParaRPr lang="en-US">
              <a:solidFill>
                <a:prstClr val="black"/>
              </a:solidFill>
            </a:endParaRPr>
          </a:p>
        </p:txBody>
      </p:sp>
    </p:spTree>
    <p:extLst>
      <p:ext uri="{BB962C8B-B14F-4D97-AF65-F5344CB8AC3E}">
        <p14:creationId xmlns:p14="http://schemas.microsoft.com/office/powerpoint/2010/main" val="421810089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C42E5F3-7FDA-481B-A043-FB1E2D72488E}" type="slidenum">
              <a:rPr lang="en-US" smtClean="0">
                <a:solidFill>
                  <a:prstClr val="black"/>
                </a:solidFill>
              </a:rPr>
              <a:pPr/>
              <a:t>23</a:t>
            </a:fld>
            <a:endParaRPr lang="en-US">
              <a:solidFill>
                <a:prstClr val="black"/>
              </a:solidFill>
            </a:endParaRPr>
          </a:p>
        </p:txBody>
      </p:sp>
    </p:spTree>
    <p:extLst>
      <p:ext uri="{BB962C8B-B14F-4D97-AF65-F5344CB8AC3E}">
        <p14:creationId xmlns:p14="http://schemas.microsoft.com/office/powerpoint/2010/main" val="76602453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C42E5F3-7FDA-481B-A043-FB1E2D72488E}" type="slidenum">
              <a:rPr lang="en-US" smtClean="0">
                <a:solidFill>
                  <a:prstClr val="black"/>
                </a:solidFill>
              </a:rPr>
              <a:pPr/>
              <a:t>24</a:t>
            </a:fld>
            <a:endParaRPr lang="en-US">
              <a:solidFill>
                <a:prstClr val="black"/>
              </a:solidFill>
            </a:endParaRPr>
          </a:p>
        </p:txBody>
      </p:sp>
    </p:spTree>
    <p:extLst>
      <p:ext uri="{BB962C8B-B14F-4D97-AF65-F5344CB8AC3E}">
        <p14:creationId xmlns:p14="http://schemas.microsoft.com/office/powerpoint/2010/main" val="154683593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6536ABA-8981-413B-8A18-047C59A07F6B}" type="slidenum">
              <a:rPr lang="en-US" smtClean="0">
                <a:solidFill>
                  <a:prstClr val="black"/>
                </a:solidFill>
              </a:rPr>
              <a:pPr/>
              <a:t>26</a:t>
            </a:fld>
            <a:endParaRPr lang="en-US">
              <a:solidFill>
                <a:prstClr val="black"/>
              </a:solidFill>
            </a:endParaRPr>
          </a:p>
        </p:txBody>
      </p:sp>
    </p:spTree>
    <p:extLst>
      <p:ext uri="{BB962C8B-B14F-4D97-AF65-F5344CB8AC3E}">
        <p14:creationId xmlns:p14="http://schemas.microsoft.com/office/powerpoint/2010/main" val="2596526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67"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67"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87AB977-69D2-485D-8AAE-F30E79C925DC}" type="datetime1">
              <a:rPr lang="en-US" smtClean="0">
                <a:solidFill>
                  <a:prstClr val="black"/>
                </a:solidFill>
              </a:rPr>
              <a:pPr/>
              <a:t>5/6/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332338924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6536ABA-8981-413B-8A18-047C59A07F6B}" type="slidenum">
              <a:rPr lang="en-US" smtClean="0">
                <a:solidFill>
                  <a:prstClr val="black"/>
                </a:solidFill>
              </a:rPr>
              <a:pPr/>
              <a:t>27</a:t>
            </a:fld>
            <a:endParaRPr lang="en-US">
              <a:solidFill>
                <a:prstClr val="black"/>
              </a:solidFill>
            </a:endParaRPr>
          </a:p>
        </p:txBody>
      </p:sp>
    </p:spTree>
    <p:extLst>
      <p:ext uri="{BB962C8B-B14F-4D97-AF65-F5344CB8AC3E}">
        <p14:creationId xmlns:p14="http://schemas.microsoft.com/office/powerpoint/2010/main" val="102553644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dirty="0" smtClean="0">
              <a:ln>
                <a:solidFill>
                  <a:srgbClr val="FFFFFF">
                    <a:alpha val="0"/>
                  </a:srgbClr>
                </a:solidFill>
              </a:ln>
              <a:solidFill>
                <a:schemeClr val="tx1"/>
              </a:solidFill>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0</a:t>
            </a:fld>
            <a:endParaRPr lang="en-US" dirty="0">
              <a:solidFill>
                <a:prstClr val="black"/>
              </a:solidFill>
            </a:endParaRPr>
          </a:p>
        </p:txBody>
      </p:sp>
    </p:spTree>
    <p:extLst>
      <p:ext uri="{BB962C8B-B14F-4D97-AF65-F5344CB8AC3E}">
        <p14:creationId xmlns:p14="http://schemas.microsoft.com/office/powerpoint/2010/main" val="105148070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dirty="0" smtClean="0">
              <a:ln>
                <a:solidFill>
                  <a:srgbClr val="FFFFFF">
                    <a:alpha val="0"/>
                  </a:srgbClr>
                </a:solidFill>
              </a:ln>
              <a:solidFill>
                <a:schemeClr val="tx1"/>
              </a:solidFill>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1</a:t>
            </a:fld>
            <a:endParaRPr lang="en-US" dirty="0">
              <a:solidFill>
                <a:prstClr val="black"/>
              </a:solidFill>
            </a:endParaRPr>
          </a:p>
        </p:txBody>
      </p:sp>
    </p:spTree>
    <p:extLst>
      <p:ext uri="{BB962C8B-B14F-4D97-AF65-F5344CB8AC3E}">
        <p14:creationId xmlns:p14="http://schemas.microsoft.com/office/powerpoint/2010/main" val="363029217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dirty="0" smtClean="0">
              <a:ln>
                <a:solidFill>
                  <a:srgbClr val="FFFFFF">
                    <a:alpha val="0"/>
                  </a:srgbClr>
                </a:solidFill>
              </a:ln>
              <a:solidFill>
                <a:schemeClr val="tx1"/>
              </a:solidFill>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2</a:t>
            </a:fld>
            <a:endParaRPr lang="en-US" dirty="0">
              <a:solidFill>
                <a:prstClr val="black"/>
              </a:solidFill>
            </a:endParaRPr>
          </a:p>
        </p:txBody>
      </p:sp>
    </p:spTree>
    <p:extLst>
      <p:ext uri="{BB962C8B-B14F-4D97-AF65-F5344CB8AC3E}">
        <p14:creationId xmlns:p14="http://schemas.microsoft.com/office/powerpoint/2010/main" val="34629916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2E9BC1C0-58DC-4B1B-BE7A-F4B6AA554EC6}" type="datetime8">
              <a:rPr lang="en-US" smtClean="0">
                <a:solidFill>
                  <a:prstClr val="black"/>
                </a:solidFill>
              </a:rPr>
              <a:pPr/>
              <a:t>5/6/2015 10:40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3</a:t>
            </a:fld>
            <a:endParaRPr lang="en-US" dirty="0">
              <a:solidFill>
                <a:prstClr val="black"/>
              </a:solidFill>
            </a:endParaRPr>
          </a:p>
        </p:txBody>
      </p:sp>
      <p:sp>
        <p:nvSpPr>
          <p:cNvPr id="4" name="Header Placeholder 3"/>
          <p:cNvSpPr>
            <a:spLocks noGrp="1"/>
          </p:cNvSpPr>
          <p:nvPr>
            <p:ph type="hdr" sz="quarter" idx="15"/>
          </p:nvPr>
        </p:nvSpPr>
        <p:spPr/>
        <p:txBody>
          <a:bodyPr/>
          <a:lstStyle/>
          <a:p>
            <a:endParaRPr lang="en-US" dirty="0">
              <a:solidFill>
                <a:prstClr val="black"/>
              </a:solidFill>
            </a:endParaRPr>
          </a:p>
        </p:txBody>
      </p:sp>
      <p:sp>
        <p:nvSpPr>
          <p:cNvPr id="5" name="Footer Placeholder 4"/>
          <p:cNvSpPr>
            <a:spLocks noGrp="1"/>
          </p:cNvSpPr>
          <p:nvPr>
            <p:ph type="ftr" sz="quarter" idx="16"/>
          </p:nvPr>
        </p:nvSpPr>
        <p:spPr/>
        <p:txBody>
          <a:bodyPr/>
          <a:lstStyle/>
          <a:p>
            <a:pPr defTabSz="931467"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a:t>
            </a:r>
          </a:p>
          <a:p>
            <a:pPr defTabSz="931467"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45722411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2E9BC1C0-58DC-4B1B-BE7A-F4B6AA554EC6}" type="datetime8">
              <a:rPr lang="en-US" smtClean="0">
                <a:solidFill>
                  <a:prstClr val="black"/>
                </a:solidFill>
              </a:rPr>
              <a:pPr/>
              <a:t>5/6/2015 10:40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4</a:t>
            </a:fld>
            <a:endParaRPr lang="en-US" dirty="0">
              <a:solidFill>
                <a:prstClr val="black"/>
              </a:solidFill>
            </a:endParaRPr>
          </a:p>
        </p:txBody>
      </p:sp>
      <p:sp>
        <p:nvSpPr>
          <p:cNvPr id="4" name="Header Placeholder 3"/>
          <p:cNvSpPr>
            <a:spLocks noGrp="1"/>
          </p:cNvSpPr>
          <p:nvPr>
            <p:ph type="hdr" sz="quarter" idx="15"/>
          </p:nvPr>
        </p:nvSpPr>
        <p:spPr/>
        <p:txBody>
          <a:bodyPr/>
          <a:lstStyle/>
          <a:p>
            <a:endParaRPr lang="en-US" dirty="0">
              <a:solidFill>
                <a:prstClr val="black"/>
              </a:solidFill>
            </a:endParaRPr>
          </a:p>
        </p:txBody>
      </p:sp>
      <p:sp>
        <p:nvSpPr>
          <p:cNvPr id="5" name="Footer Placeholder 4"/>
          <p:cNvSpPr>
            <a:spLocks noGrp="1"/>
          </p:cNvSpPr>
          <p:nvPr>
            <p:ph type="ftr" sz="quarter" idx="16"/>
          </p:nvPr>
        </p:nvSpPr>
        <p:spPr/>
        <p:txBody>
          <a:bodyPr/>
          <a:lstStyle/>
          <a:p>
            <a:pPr defTabSz="931467"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a:t>
            </a:r>
          </a:p>
          <a:p>
            <a:pPr defTabSz="931467"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68808827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2E9BC1C0-58DC-4B1B-BE7A-F4B6AA554EC6}" type="datetime8">
              <a:rPr lang="en-US" smtClean="0">
                <a:solidFill>
                  <a:prstClr val="black"/>
                </a:solidFill>
              </a:rPr>
              <a:pPr/>
              <a:t>5/6/2015 10:40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5</a:t>
            </a:fld>
            <a:endParaRPr lang="en-US" dirty="0">
              <a:solidFill>
                <a:prstClr val="black"/>
              </a:solidFill>
            </a:endParaRPr>
          </a:p>
        </p:txBody>
      </p:sp>
      <p:sp>
        <p:nvSpPr>
          <p:cNvPr id="4" name="Header Placeholder 3"/>
          <p:cNvSpPr>
            <a:spLocks noGrp="1"/>
          </p:cNvSpPr>
          <p:nvPr>
            <p:ph type="hdr" sz="quarter" idx="15"/>
          </p:nvPr>
        </p:nvSpPr>
        <p:spPr/>
        <p:txBody>
          <a:bodyPr/>
          <a:lstStyle/>
          <a:p>
            <a:endParaRPr lang="en-US" dirty="0">
              <a:solidFill>
                <a:prstClr val="black"/>
              </a:solidFill>
            </a:endParaRPr>
          </a:p>
        </p:txBody>
      </p:sp>
      <p:sp>
        <p:nvSpPr>
          <p:cNvPr id="5" name="Footer Placeholder 4"/>
          <p:cNvSpPr>
            <a:spLocks noGrp="1"/>
          </p:cNvSpPr>
          <p:nvPr>
            <p:ph type="ftr" sz="quarter" idx="16"/>
          </p:nvPr>
        </p:nvSpPr>
        <p:spPr/>
        <p:txBody>
          <a:bodyPr/>
          <a:lstStyle/>
          <a:p>
            <a:pPr defTabSz="931467"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a:t>
            </a:r>
          </a:p>
          <a:p>
            <a:pPr defTabSz="931467"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0547359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2E9BC1C0-58DC-4B1B-BE7A-F4B6AA554EC6}" type="datetime8">
              <a:rPr lang="en-US" smtClean="0">
                <a:solidFill>
                  <a:prstClr val="black"/>
                </a:solidFill>
              </a:rPr>
              <a:pPr/>
              <a:t>5/6/2015 10:40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6</a:t>
            </a:fld>
            <a:endParaRPr lang="en-US" dirty="0">
              <a:solidFill>
                <a:prstClr val="black"/>
              </a:solidFill>
            </a:endParaRPr>
          </a:p>
        </p:txBody>
      </p:sp>
      <p:sp>
        <p:nvSpPr>
          <p:cNvPr id="4" name="Header Placeholder 3"/>
          <p:cNvSpPr>
            <a:spLocks noGrp="1"/>
          </p:cNvSpPr>
          <p:nvPr>
            <p:ph type="hdr" sz="quarter" idx="15"/>
          </p:nvPr>
        </p:nvSpPr>
        <p:spPr/>
        <p:txBody>
          <a:bodyPr/>
          <a:lstStyle/>
          <a:p>
            <a:endParaRPr lang="en-US" dirty="0">
              <a:solidFill>
                <a:prstClr val="black"/>
              </a:solidFill>
            </a:endParaRPr>
          </a:p>
        </p:txBody>
      </p:sp>
      <p:sp>
        <p:nvSpPr>
          <p:cNvPr id="5" name="Footer Placeholder 4"/>
          <p:cNvSpPr>
            <a:spLocks noGrp="1"/>
          </p:cNvSpPr>
          <p:nvPr>
            <p:ph type="ftr" sz="quarter" idx="16"/>
          </p:nvPr>
        </p:nvSpPr>
        <p:spPr/>
        <p:txBody>
          <a:bodyPr/>
          <a:lstStyle/>
          <a:p>
            <a:pPr defTabSz="931467"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a:t>
            </a:r>
          </a:p>
          <a:p>
            <a:pPr defTabSz="931467"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1452058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0EC29EE-A8AD-4CE0-9C0B-116E0D4D7533}" type="datetime8">
              <a:rPr lang="en-US" smtClean="0">
                <a:solidFill>
                  <a:prstClr val="black"/>
                </a:solidFill>
              </a:rPr>
              <a:pPr/>
              <a:t>5/6/2015 10:40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2</a:t>
            </a:fld>
            <a:endParaRPr lang="en-US" dirty="0">
              <a:solidFill>
                <a:prstClr val="black"/>
              </a:solidFill>
            </a:endParaRPr>
          </a:p>
        </p:txBody>
      </p:sp>
    </p:spTree>
    <p:extLst>
      <p:ext uri="{BB962C8B-B14F-4D97-AF65-F5344CB8AC3E}">
        <p14:creationId xmlns:p14="http://schemas.microsoft.com/office/powerpoint/2010/main" val="230844599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8A17D118-1690-458F-B4D2-F9DA5D6F5033}" type="datetime8">
              <a:rPr lang="en-US" smtClean="0">
                <a:solidFill>
                  <a:prstClr val="black"/>
                </a:solidFill>
              </a:rPr>
              <a:pPr/>
              <a:t>5/6/2015 10:40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43</a:t>
            </a:fld>
            <a:endParaRPr lang="en-US" dirty="0">
              <a:solidFill>
                <a:prstClr val="black"/>
              </a:solidFill>
            </a:endParaRPr>
          </a:p>
        </p:txBody>
      </p:sp>
      <p:sp>
        <p:nvSpPr>
          <p:cNvPr id="6" name="Footer Placeholder 5"/>
          <p:cNvSpPr>
            <a:spLocks noGrp="1"/>
          </p:cNvSpPr>
          <p:nvPr>
            <p:ph type="ftr" sz="quarter" idx="14"/>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376328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2153479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9979115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30324076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410414659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67"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67"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E0E08932-DA94-40F9-947F-93874A640227}" type="datetime1">
              <a:rPr lang="en-US" smtClean="0">
                <a:solidFill>
                  <a:prstClr val="black"/>
                </a:solidFill>
              </a:rPr>
              <a:pPr/>
              <a:t>5/6/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109907334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67"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67"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E0E08932-DA94-40F9-947F-93874A640227}" type="datetime1">
              <a:rPr lang="en-US" smtClean="0">
                <a:solidFill>
                  <a:prstClr val="black"/>
                </a:solidFill>
              </a:rPr>
              <a:pPr/>
              <a:t>5/6/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324813581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79400" y="1108075"/>
            <a:ext cx="9855200" cy="55435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18A1B17-96D1-4B0D-A2F5-3C55CDCC028D}" type="slidenum">
              <a:rPr lang="en-US" smtClean="0">
                <a:solidFill>
                  <a:prstClr val="black"/>
                </a:solidFill>
              </a:rPr>
              <a:pPr/>
              <a:t>15</a:t>
            </a:fld>
            <a:endParaRPr lang="en-US">
              <a:solidFill>
                <a:prstClr val="black"/>
              </a:solidFill>
            </a:endParaRPr>
          </a:p>
        </p:txBody>
      </p:sp>
    </p:spTree>
    <p:extLst>
      <p:ext uri="{BB962C8B-B14F-4D97-AF65-F5344CB8AC3E}">
        <p14:creationId xmlns:p14="http://schemas.microsoft.com/office/powerpoint/2010/main" val="212059774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2.jpg"/><Relationship Id="rId1" Type="http://schemas.openxmlformats.org/officeDocument/2006/relationships/slideMaster" Target="../slideMasters/slideMaster4.xml"/><Relationship Id="rId5" Type="http://schemas.openxmlformats.org/officeDocument/2006/relationships/image" Target="../media/image13.png"/><Relationship Id="rId4" Type="http://schemas.microsoft.com/office/2007/relationships/hdphoto" Target="../media/hdphoto2.wdp"/></Relationships>
</file>

<file path=ppt/slideLayouts/_rels/slideLayout10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2.jpg"/><Relationship Id="rId1" Type="http://schemas.openxmlformats.org/officeDocument/2006/relationships/slideMaster" Target="../slideMasters/slideMaster4.xml"/><Relationship Id="rId5" Type="http://schemas.openxmlformats.org/officeDocument/2006/relationships/image" Target="../media/image13.png"/><Relationship Id="rId4" Type="http://schemas.microsoft.com/office/2007/relationships/hdphoto" Target="../media/hdphoto2.wdp"/></Relationships>
</file>

<file path=ppt/slideLayouts/_rels/slideLayout7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587"/>
            <a:ext cx="12430199" cy="6991986"/>
          </a:xfrm>
          <a:prstGeom prst="rect">
            <a:avLst/>
          </a:prstGeom>
          <a:noFill/>
          <a:ln>
            <a:noFill/>
          </a:ln>
        </p:spPr>
      </p:pic>
      <p:sp>
        <p:nvSpPr>
          <p:cNvPr id="3" name="Rectangle 2"/>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5"/>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
        <p:nvSpPr>
          <p:cNvPr id="9" name="Rectangle 8"/>
          <p:cNvSpPr/>
          <p:nvPr userDrawn="1"/>
        </p:nvSpPr>
        <p:spPr>
          <a:xfrm>
            <a:off x="293752" y="3040063"/>
            <a:ext cx="4333238" cy="784830"/>
          </a:xfrm>
          <a:prstGeom prst="rect">
            <a:avLst/>
          </a:prstGeom>
        </p:spPr>
        <p:txBody>
          <a:bodyPr wrap="none" anchor="ctr">
            <a:spAutoFit/>
          </a:bodyPr>
          <a:lstStyle/>
          <a:p>
            <a:pPr algn="r" defTabSz="1165834" rtl="0" eaLnBrk="1" latinLnBrk="0" hangingPunct="1">
              <a:lnSpc>
                <a:spcPct val="90000"/>
              </a:lnSpc>
              <a:spcBef>
                <a:spcPct val="0"/>
              </a:spcBef>
              <a:buNone/>
            </a:pPr>
            <a:r>
              <a:rPr lang="en-US" sz="5000" b="0" kern="1200" cap="none" spc="-125" baseline="0" noProof="0" dirty="0" smtClean="0">
                <a:ln w="3175">
                  <a:noFill/>
                </a:ln>
                <a:gradFill>
                  <a:gsLst>
                    <a:gs pos="84066">
                      <a:srgbClr val="000000"/>
                    </a:gs>
                    <a:gs pos="57576">
                      <a:srgbClr val="000000"/>
                    </a:gs>
                  </a:gsLst>
                  <a:lin ang="5400000" scaled="0"/>
                </a:gradFill>
                <a:effectLst/>
                <a:latin typeface="+mj-lt"/>
                <a:ea typeface="+mn-ea"/>
                <a:cs typeface="Segoe UI" pitchFamily="34" charset="0"/>
              </a:rPr>
              <a:t>Spark the future.</a:t>
            </a:r>
            <a:endParaRPr lang="en-US" sz="5000" b="0" kern="1200" cap="none" spc="-125" baseline="0" dirty="0">
              <a:ln w="3175">
                <a:noFill/>
              </a:ln>
              <a:gradFill>
                <a:gsLst>
                  <a:gs pos="84066">
                    <a:srgbClr val="000000"/>
                  </a:gs>
                  <a:gs pos="57576">
                    <a:srgbClr val="000000"/>
                  </a:gs>
                </a:gsLst>
                <a:lin ang="5400000" scaled="0"/>
              </a:gradFill>
              <a:effectLst/>
              <a:latin typeface="+mj-lt"/>
              <a:ea typeface="+mn-ea"/>
              <a:cs typeface="Segoe UI" pitchFamily="34" charset="0"/>
            </a:endParaRPr>
          </a:p>
        </p:txBody>
      </p:sp>
      <p:sp>
        <p:nvSpPr>
          <p:cNvPr id="10" name="Rectangle 9"/>
          <p:cNvSpPr/>
          <p:nvPr userDrawn="1"/>
        </p:nvSpPr>
        <p:spPr>
          <a:xfrm>
            <a:off x="2441776" y="4617847"/>
            <a:ext cx="2185214" cy="715581"/>
          </a:xfrm>
          <a:prstGeom prst="rect">
            <a:avLst/>
          </a:prstGeom>
        </p:spPr>
        <p:txBody>
          <a:bodyPr wrap="none" anchor="ctr">
            <a:spAutoFit/>
          </a:bodyPr>
          <a:lstStyle/>
          <a:p>
            <a:pPr algn="r" defTabSz="1165834" rtl="0" eaLnBrk="1" latinLnBrk="0" hangingPunct="1">
              <a:lnSpc>
                <a:spcPct val="90000"/>
              </a:lnSpc>
              <a:spcBef>
                <a:spcPct val="0"/>
              </a:spcBef>
              <a:buNone/>
            </a:pPr>
            <a:r>
              <a:rPr lang="en-US" sz="2250" b="0" kern="1200" cap="none" spc="0" baseline="0" noProof="0" dirty="0" smtClean="0">
                <a:ln w="3175">
                  <a:noFill/>
                </a:ln>
                <a:gradFill>
                  <a:gsLst>
                    <a:gs pos="84066">
                      <a:srgbClr val="000000"/>
                    </a:gs>
                    <a:gs pos="57576">
                      <a:srgbClr val="000000"/>
                    </a:gs>
                  </a:gsLst>
                  <a:lin ang="5400000" scaled="0"/>
                </a:gradFill>
                <a:effectLst/>
                <a:latin typeface="+mn-lt"/>
                <a:ea typeface="+mn-ea"/>
                <a:cs typeface="Segoe UI" pitchFamily="34" charset="0"/>
              </a:rPr>
              <a:t>May 4 – 8, 2015</a:t>
            </a:r>
            <a:br>
              <a:rPr lang="en-US" sz="2250" b="0" kern="1200" cap="none" spc="0" baseline="0" noProof="0" dirty="0" smtClean="0">
                <a:ln w="3175">
                  <a:noFill/>
                </a:ln>
                <a:gradFill>
                  <a:gsLst>
                    <a:gs pos="84066">
                      <a:srgbClr val="000000"/>
                    </a:gs>
                    <a:gs pos="57576">
                      <a:srgbClr val="000000"/>
                    </a:gs>
                  </a:gsLst>
                  <a:lin ang="5400000" scaled="0"/>
                </a:gradFill>
                <a:effectLst/>
                <a:latin typeface="+mn-lt"/>
                <a:ea typeface="+mn-ea"/>
                <a:cs typeface="Segoe UI" pitchFamily="34" charset="0"/>
              </a:rPr>
            </a:br>
            <a:r>
              <a:rPr lang="en-US" sz="2250" b="0" kern="1200" cap="none" spc="0" baseline="0" noProof="0" dirty="0" smtClean="0">
                <a:ln w="3175">
                  <a:noFill/>
                </a:ln>
                <a:gradFill>
                  <a:gsLst>
                    <a:gs pos="84066">
                      <a:srgbClr val="000000"/>
                    </a:gs>
                    <a:gs pos="57576">
                      <a:srgbClr val="000000"/>
                    </a:gs>
                  </a:gsLst>
                  <a:lin ang="5400000" scaled="0"/>
                </a:gradFill>
                <a:effectLst/>
                <a:latin typeface="+mn-lt"/>
                <a:ea typeface="+mn-ea"/>
                <a:cs typeface="Segoe UI" pitchFamily="34" charset="0"/>
              </a:rPr>
              <a:t>Chicago, IL</a:t>
            </a:r>
            <a:endParaRPr lang="en-US" sz="2250" b="0" kern="1200" cap="none" spc="0" baseline="0" dirty="0">
              <a:ln w="3175">
                <a:noFill/>
              </a:ln>
              <a:gradFill>
                <a:gsLst>
                  <a:gs pos="84066">
                    <a:srgbClr val="000000"/>
                  </a:gs>
                  <a:gs pos="57576">
                    <a:srgbClr val="000000"/>
                  </a:gs>
                </a:gsLst>
                <a:lin ang="5400000" scaled="0"/>
              </a:gradFill>
              <a:effectLst/>
              <a:latin typeface="+mn-lt"/>
              <a:ea typeface="+mn-ea"/>
              <a:cs typeface="Segoe UI" pitchFamily="34" charset="0"/>
            </a:endParaRPr>
          </a:p>
        </p:txBody>
      </p:sp>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002510" y="4088040"/>
            <a:ext cx="2494315" cy="384949"/>
          </a:xfrm>
          <a:prstGeom prst="rect">
            <a:avLst/>
          </a:prstGeom>
        </p:spPr>
      </p:pic>
    </p:spTree>
    <p:extLst>
      <p:ext uri="{BB962C8B-B14F-4D97-AF65-F5344CB8AC3E}">
        <p14:creationId xmlns:p14="http://schemas.microsoft.com/office/powerpoint/2010/main" val="2655962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315" indent="-287315">
              <a:spcBef>
                <a:spcPts val="1224"/>
              </a:spcBef>
              <a:buClr>
                <a:schemeClr val="tx1"/>
              </a:buClr>
              <a:buFont typeface="Wingdings" panose="05000000000000000000" pitchFamily="2" charset="2"/>
              <a:buChar char="§"/>
              <a:defRPr sz="3200"/>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2425279"/>
          </a:xfrm>
        </p:spPr>
        <p:txBody>
          <a:bodyPr wrap="square">
            <a:spAutoFit/>
          </a:bodyPr>
          <a:lstStyle>
            <a:lvl1pPr marL="287315" indent="-287315">
              <a:spcBef>
                <a:spcPts val="1224"/>
              </a:spcBef>
              <a:buClr>
                <a:schemeClr val="tx1"/>
              </a:buClr>
              <a:buFont typeface="Wingdings" panose="05000000000000000000" pitchFamily="2" charset="2"/>
              <a:buChar char="§"/>
              <a:defRPr sz="3200"/>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78982855"/>
      </p:ext>
    </p:extLst>
  </p:cSld>
  <p:clrMapOvr>
    <a:masterClrMapping/>
  </p:clrMapOvr>
  <p:transition>
    <p:fade/>
  </p:transition>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99552" y="6540102"/>
            <a:ext cx="4197310" cy="233151"/>
          </a:xfrm>
          <a:prstGeom prst="rect">
            <a:avLst/>
          </a:prstGeom>
        </p:spPr>
        <p:txBody>
          <a:bodyPr/>
          <a:lstStyle/>
          <a:p>
            <a:pPr defTabSz="699493"/>
            <a:fld id="{8DDF5F92-E675-4B36-9A60-69A962A68675}" type="datetimeFigureOut">
              <a:rPr lang="en-US" smtClean="0">
                <a:solidFill>
                  <a:prstClr val="white">
                    <a:alpha val="80000"/>
                  </a:prstClr>
                </a:solidFill>
              </a:rPr>
              <a:pPr defTabSz="699493"/>
              <a:t>5/6/2015</a:t>
            </a:fld>
            <a:endParaRPr lang="en-US" dirty="0">
              <a:solidFill>
                <a:prstClr val="white">
                  <a:alpha val="80000"/>
                </a:prstClr>
              </a:solidFill>
            </a:endParaRPr>
          </a:p>
        </p:txBody>
      </p:sp>
      <p:sp>
        <p:nvSpPr>
          <p:cNvPr id="3" name="Footer Placeholder 2"/>
          <p:cNvSpPr>
            <a:spLocks noGrp="1"/>
          </p:cNvSpPr>
          <p:nvPr>
            <p:ph type="ftr" sz="quarter" idx="11"/>
          </p:nvPr>
        </p:nvSpPr>
        <p:spPr>
          <a:xfrm>
            <a:off x="699552" y="6685185"/>
            <a:ext cx="5130046" cy="233151"/>
          </a:xfrm>
          <a:prstGeom prst="rect">
            <a:avLst/>
          </a:prstGeom>
        </p:spPr>
        <p:txBody>
          <a:bodyPr/>
          <a:lstStyle/>
          <a:p>
            <a:pPr defTabSz="699493"/>
            <a:endParaRPr lang="en-US" dirty="0">
              <a:solidFill>
                <a:prstClr val="white">
                  <a:alpha val="80000"/>
                </a:prstClr>
              </a:solidFill>
            </a:endParaRPr>
          </a:p>
        </p:txBody>
      </p:sp>
      <p:sp>
        <p:nvSpPr>
          <p:cNvPr id="4" name="Slide Number Placeholder 3"/>
          <p:cNvSpPr>
            <a:spLocks noGrp="1"/>
          </p:cNvSpPr>
          <p:nvPr>
            <p:ph type="sldNum" sz="quarter" idx="12"/>
          </p:nvPr>
        </p:nvSpPr>
        <p:spPr>
          <a:xfrm>
            <a:off x="8939662" y="5993398"/>
            <a:ext cx="2984754" cy="1424850"/>
          </a:xfrm>
          <a:prstGeom prst="rect">
            <a:avLst/>
          </a:prstGeom>
        </p:spPr>
        <p:txBody>
          <a:bodyPr/>
          <a:lstStyle/>
          <a:p>
            <a:pPr defTabSz="699493"/>
            <a:fld id="{4FAB73BC-B049-4115-A692-8D63A059BFB8}" type="slidenum">
              <a:rPr lang="en-US" smtClean="0">
                <a:solidFill>
                  <a:prstClr val="white">
                    <a:alpha val="20000"/>
                  </a:prstClr>
                </a:solidFill>
              </a:rPr>
              <a:pPr defTabSz="699493"/>
              <a:t>‹#›</a:t>
            </a:fld>
            <a:endParaRPr lang="en-US" dirty="0">
              <a:solidFill>
                <a:prstClr val="white">
                  <a:alpha val="20000"/>
                </a:prstClr>
              </a:solidFill>
            </a:endParaRPr>
          </a:p>
        </p:txBody>
      </p:sp>
    </p:spTree>
    <p:extLst>
      <p:ext uri="{BB962C8B-B14F-4D97-AF65-F5344CB8AC3E}">
        <p14:creationId xmlns:p14="http://schemas.microsoft.com/office/powerpoint/2010/main" val="687107007"/>
      </p:ext>
    </p:extLst>
  </p:cSld>
  <p:clrMapOvr>
    <a:masterClrMapping/>
  </p:clrMapOvr>
  <p:transition>
    <p:cut/>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1_Title Slide - ANIMATED">
    <p:bg bwMode="auto">
      <p:bgPr>
        <a:solidFill>
          <a:schemeClr val="accent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1" y="3954459"/>
            <a:ext cx="6399212" cy="1830388"/>
          </a:xfrm>
          <a:noFill/>
        </p:spPr>
        <p:txBody>
          <a:bodyPr lIns="146304" tIns="109728" rIns="146304" bIns="109728">
            <a:noAutofit/>
          </a:bodyPr>
          <a:lstStyle>
            <a:lvl1pPr marL="0" indent="0">
              <a:spcBef>
                <a:spcPts val="0"/>
              </a:spcBef>
              <a:buNone/>
              <a:defRPr lang="en-US" sz="2250" b="0" kern="1200" cap="none" spc="-56" baseline="0" dirty="0" smtClean="0">
                <a:ln w="3175">
                  <a:noFill/>
                </a:ln>
                <a:solidFill>
                  <a:schemeClr val="bg1"/>
                </a:solidFill>
                <a:effectLst/>
                <a:latin typeface="+mj-lt"/>
                <a:ea typeface="+mn-ea"/>
                <a:cs typeface="+mn-cs"/>
              </a:defRPr>
            </a:lvl1pPr>
          </a:lstStyle>
          <a:p>
            <a:pPr lvl="0"/>
            <a:r>
              <a:rPr lang="en-US" dirty="0" smtClean="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2250" b="1" spc="-56" baseline="0">
                <a:solidFill>
                  <a:schemeClr val="bg1"/>
                </a:solidFill>
                <a:latin typeface="+mn-lt"/>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335" y="6182442"/>
            <a:ext cx="1552931" cy="332660"/>
          </a:xfrm>
          <a:prstGeom prst="rect">
            <a:avLst/>
          </a:prstGeom>
        </p:spPr>
      </p:pic>
      <p:sp>
        <p:nvSpPr>
          <p:cNvPr id="8" name="Rectangle 6"/>
          <p:cNvSpPr>
            <a:spLocks noChangeArrowheads="1"/>
          </p:cNvSpPr>
          <p:nvPr userDrawn="1"/>
        </p:nvSpPr>
        <p:spPr bwMode="auto">
          <a:xfrm>
            <a:off x="3174" y="4395790"/>
            <a:ext cx="12433301"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51421" tIns="25710" rIns="51421" bIns="25710" numCol="1" anchor="t" anchorCtr="0" compatLnSpc="1">
            <a:prstTxWarp prst="textNoShape">
              <a:avLst/>
            </a:prstTxWarp>
          </a:bodyPr>
          <a:lstStyle/>
          <a:p>
            <a:pPr defTabSz="699493"/>
            <a:endParaRPr lang="en-US" sz="1013">
              <a:solidFill>
                <a:srgbClr val="FFFFFF"/>
              </a:solidFill>
            </a:endParaRPr>
          </a:p>
        </p:txBody>
      </p:sp>
      <p:sp>
        <p:nvSpPr>
          <p:cNvPr id="14" name="TextBox 7"/>
          <p:cNvSpPr txBox="1"/>
          <p:nvPr userDrawn="1"/>
        </p:nvSpPr>
        <p:spPr bwMode="white">
          <a:xfrm>
            <a:off x="5154358" y="6690095"/>
            <a:ext cx="2127762" cy="9092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591" spc="84"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209191949"/>
      </p:ext>
    </p:extLst>
  </p:cSld>
  <p:clrMapOvr>
    <a:masterClrMapping/>
  </p:clrMapOvr>
  <p:transition spd="slow">
    <p:push/>
  </p:transition>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8_Title and Conten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48314283"/>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16" name="Title 1"/>
          <p:cNvSpPr>
            <a:spLocks noGrp="1"/>
          </p:cNvSpPr>
          <p:nvPr>
            <p:ph type="title"/>
          </p:nvPr>
        </p:nvSpPr>
        <p:spPr>
          <a:xfrm>
            <a:off x="310140" y="77346"/>
            <a:ext cx="11255765" cy="928140"/>
          </a:xfrm>
        </p:spPr>
        <p:txBody>
          <a:bodyPr lIns="0">
            <a:normAutofit/>
          </a:bodyPr>
          <a:lstStyle>
            <a:lvl1pPr algn="l">
              <a:defRPr sz="2142"/>
            </a:lvl1pPr>
          </a:lstStyle>
          <a:p>
            <a:r>
              <a:rPr lang="en-US" dirty="0" smtClean="0"/>
              <a:t>Click to edit Master title style</a:t>
            </a:r>
            <a:endParaRPr lang="en-US" dirty="0"/>
          </a:p>
        </p:txBody>
      </p:sp>
    </p:spTree>
    <p:extLst>
      <p:ext uri="{BB962C8B-B14F-4D97-AF65-F5344CB8AC3E}">
        <p14:creationId xmlns:p14="http://schemas.microsoft.com/office/powerpoint/2010/main" val="123468283"/>
      </p:ext>
    </p:extLst>
  </p:cSld>
  <p:clrMapOvr>
    <a:masterClrMapping/>
  </p:clrMapOvr>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1_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val="0"/>
              </a:ext>
            </a:extLst>
          </a:blip>
          <a:stretch>
            <a:fillRect/>
          </a:stretch>
        </p:blipFill>
        <p:spPr bwMode="gray">
          <a:xfrm>
            <a:off x="10426345" y="6182441"/>
            <a:ext cx="1552931" cy="332660"/>
          </a:xfrm>
          <a:prstGeom prst="rect">
            <a:avLst/>
          </a:prstGeom>
        </p:spPr>
      </p:pic>
      <p:pic>
        <p:nvPicPr>
          <p:cNvPr id="6" name="Picture 5"/>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479280" y="493939"/>
            <a:ext cx="7500693" cy="1371600"/>
          </a:xfrm>
          <a:prstGeom prst="rect">
            <a:avLst/>
          </a:prstGeom>
        </p:spPr>
      </p:pic>
    </p:spTree>
    <p:extLst>
      <p:ext uri="{BB962C8B-B14F-4D97-AF65-F5344CB8AC3E}">
        <p14:creationId xmlns:p14="http://schemas.microsoft.com/office/powerpoint/2010/main" val="1758707529"/>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2_Title Slide - ANIMATED">
    <p:bg bwMode="auto">
      <p:bgPr>
        <a:solidFill>
          <a:schemeClr val="accent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1" y="3954459"/>
            <a:ext cx="6399212" cy="1830388"/>
          </a:xfrm>
          <a:noFill/>
        </p:spPr>
        <p:txBody>
          <a:bodyPr lIns="146304" tIns="109728" rIns="146304" bIns="109728">
            <a:noAutofit/>
          </a:bodyPr>
          <a:lstStyle>
            <a:lvl1pPr marL="0" indent="0">
              <a:spcBef>
                <a:spcPts val="0"/>
              </a:spcBef>
              <a:buNone/>
              <a:defRPr lang="en-US" sz="2250" b="0" kern="1200" cap="none" spc="-56" baseline="0" dirty="0" smtClean="0">
                <a:ln w="3175">
                  <a:noFill/>
                </a:ln>
                <a:solidFill>
                  <a:schemeClr val="bg1"/>
                </a:solidFill>
                <a:effectLst/>
                <a:latin typeface="+mj-lt"/>
                <a:ea typeface="+mn-ea"/>
                <a:cs typeface="+mn-cs"/>
              </a:defRPr>
            </a:lvl1pPr>
          </a:lstStyle>
          <a:p>
            <a:pPr lvl="0"/>
            <a:r>
              <a:rPr lang="en-US" dirty="0" smtClean="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2250" b="1" spc="-56" baseline="0">
                <a:solidFill>
                  <a:schemeClr val="bg1"/>
                </a:solidFill>
                <a:latin typeface="+mn-lt"/>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335" y="6182442"/>
            <a:ext cx="1552931" cy="332660"/>
          </a:xfrm>
          <a:prstGeom prst="rect">
            <a:avLst/>
          </a:prstGeom>
        </p:spPr>
      </p:pic>
      <p:sp>
        <p:nvSpPr>
          <p:cNvPr id="8" name="Rectangle 6"/>
          <p:cNvSpPr>
            <a:spLocks noChangeArrowheads="1"/>
          </p:cNvSpPr>
          <p:nvPr userDrawn="1"/>
        </p:nvSpPr>
        <p:spPr bwMode="auto">
          <a:xfrm>
            <a:off x="3174" y="4395790"/>
            <a:ext cx="12433301"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51421" tIns="25710" rIns="51421" bIns="25710" numCol="1" anchor="t" anchorCtr="0" compatLnSpc="1">
            <a:prstTxWarp prst="textNoShape">
              <a:avLst/>
            </a:prstTxWarp>
          </a:bodyPr>
          <a:lstStyle/>
          <a:p>
            <a:pPr defTabSz="699493"/>
            <a:endParaRPr lang="en-US" sz="1013">
              <a:solidFill>
                <a:srgbClr val="FFFFFF"/>
              </a:solidFill>
            </a:endParaRPr>
          </a:p>
        </p:txBody>
      </p:sp>
      <p:sp>
        <p:nvSpPr>
          <p:cNvPr id="14" name="TextBox 7"/>
          <p:cNvSpPr txBox="1"/>
          <p:nvPr userDrawn="1"/>
        </p:nvSpPr>
        <p:spPr bwMode="white">
          <a:xfrm>
            <a:off x="5154358" y="6690095"/>
            <a:ext cx="2127762" cy="90922"/>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591" spc="84"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20932712"/>
      </p:ext>
    </p:extLst>
  </p:cSld>
  <p:clrMapOvr>
    <a:masterClrMapping/>
  </p:clrMapOvr>
  <p:transition spd="slow">
    <p:push/>
  </p:transition>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9_Title and Conten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08994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1_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810417" y="6717858"/>
            <a:ext cx="2815643"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87" spc="112"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629788545"/>
      </p:ext>
    </p:extLst>
  </p:cSld>
  <p:clrMapOvr>
    <a:masterClrMapping/>
  </p:clrMapOvr>
  <p:transition>
    <p:fade/>
  </p:transition>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16" name="Title 1"/>
          <p:cNvSpPr>
            <a:spLocks noGrp="1"/>
          </p:cNvSpPr>
          <p:nvPr>
            <p:ph type="title"/>
          </p:nvPr>
        </p:nvSpPr>
        <p:spPr>
          <a:xfrm>
            <a:off x="310140" y="77346"/>
            <a:ext cx="11255765" cy="928140"/>
          </a:xfrm>
        </p:spPr>
        <p:txBody>
          <a:bodyPr lIns="0">
            <a:normAutofit/>
          </a:bodyPr>
          <a:lstStyle>
            <a:lvl1pPr algn="l">
              <a:defRPr sz="2142"/>
            </a:lvl1pPr>
          </a:lstStyle>
          <a:p>
            <a:r>
              <a:rPr lang="en-US" dirty="0" smtClean="0"/>
              <a:t>Click to edit Master title style</a:t>
            </a:r>
            <a:endParaRPr lang="en-US" dirty="0"/>
          </a:p>
        </p:txBody>
      </p:sp>
    </p:spTree>
    <p:extLst>
      <p:ext uri="{BB962C8B-B14F-4D97-AF65-F5344CB8AC3E}">
        <p14:creationId xmlns:p14="http://schemas.microsoft.com/office/powerpoint/2010/main" val="1670943336"/>
      </p:ext>
    </p:extLst>
  </p:cSld>
  <p:clrMapOvr>
    <a:masterClrMapping/>
  </p:clrMapOvr>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74639" y="1212850"/>
            <a:ext cx="11889564" cy="1568864"/>
          </a:xfrm>
        </p:spPr>
        <p:txBody>
          <a:bodyPr/>
          <a:lstStyle>
            <a:lvl1pPr marL="0" indent="0">
              <a:buNone/>
              <a:defRPr/>
            </a:lvl1pPr>
            <a:lvl2pPr marL="21429" indent="0">
              <a:buNone/>
              <a:defRPr sz="1500"/>
            </a:lvl2pPr>
            <a:lvl3pPr marL="167863" indent="0">
              <a:buNone/>
              <a:defRPr sz="1500"/>
            </a:lvl3pPr>
            <a:lvl4pPr marL="357156" indent="0">
              <a:buNone/>
              <a:defRPr sz="1350"/>
            </a:lvl4pPr>
            <a:lvl5pPr marL="554782" indent="0">
              <a:buNone/>
              <a:defRPr sz="135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Box 7"/>
          <p:cNvSpPr txBox="1"/>
          <p:nvPr userDrawn="1"/>
        </p:nvSpPr>
        <p:spPr bwMode="white">
          <a:xfrm>
            <a:off x="4810417" y="6717858"/>
            <a:ext cx="2815643"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87" spc="112"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785300771"/>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189335521"/>
      </p:ext>
    </p:extLst>
  </p:cSld>
  <p:clrMapOvr>
    <a:masterClrMapping/>
  </p:clrMapOvr>
  <p:transition>
    <p:fade/>
  </p:transition>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3_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4" y="4395789"/>
            <a:ext cx="12433301" cy="2601913"/>
          </a:xfrm>
          <a:prstGeom prst="rect">
            <a:avLst/>
          </a:prstGeom>
          <a:solidFill>
            <a:srgbClr val="4D9ED7"/>
          </a:solidFill>
          <a:ln>
            <a:noFill/>
          </a:ln>
        </p:spPr>
        <p:txBody>
          <a:bodyPr vert="horz" wrap="square" lIns="68570" tIns="34285" rIns="68570" bIns="34285" numCol="1" anchor="t" anchorCtr="0" compatLnSpc="1">
            <a:prstTxWarp prst="textNoShape">
              <a:avLst/>
            </a:prstTxWarp>
          </a:bodyPr>
          <a:lstStyle/>
          <a:p>
            <a:pPr defTabSz="699493"/>
            <a:endParaRPr lang="en-US" sz="1350">
              <a:solidFill>
                <a:srgbClr val="FFFFFF"/>
              </a:solidFill>
            </a:endParaRPr>
          </a:p>
        </p:txBody>
      </p:sp>
      <p:sp>
        <p:nvSpPr>
          <p:cNvPr id="10" name="Rectangle 7"/>
          <p:cNvSpPr>
            <a:spLocks noChangeArrowheads="1"/>
          </p:cNvSpPr>
          <p:nvPr userDrawn="1"/>
        </p:nvSpPr>
        <p:spPr bwMode="auto">
          <a:xfrm>
            <a:off x="1" y="5843588"/>
            <a:ext cx="12433301" cy="1154113"/>
          </a:xfrm>
          <a:prstGeom prst="rect">
            <a:avLst/>
          </a:prstGeom>
          <a:solidFill>
            <a:srgbClr val="00188F"/>
          </a:solidFill>
          <a:ln>
            <a:noFill/>
          </a:ln>
          <a:extLst/>
        </p:spPr>
        <p:txBody>
          <a:bodyPr vert="horz" wrap="square" lIns="68570" tIns="34285" rIns="68570" bIns="34285" numCol="1" anchor="t" anchorCtr="0" compatLnSpc="1">
            <a:prstTxWarp prst="textNoShape">
              <a:avLst/>
            </a:prstTxWarp>
          </a:bodyPr>
          <a:lstStyle/>
          <a:p>
            <a:pPr defTabSz="699493"/>
            <a:endParaRPr lang="en-US" sz="1350">
              <a:solidFill>
                <a:srgbClr val="FFFFFF"/>
              </a:solidFill>
            </a:endParaRPr>
          </a:p>
        </p:txBody>
      </p:sp>
      <p:sp>
        <p:nvSpPr>
          <p:cNvPr id="11" name="Rectangle 8"/>
          <p:cNvSpPr>
            <a:spLocks noChangeArrowheads="1"/>
          </p:cNvSpPr>
          <p:nvPr userDrawn="1"/>
        </p:nvSpPr>
        <p:spPr bwMode="auto">
          <a:xfrm>
            <a:off x="3176" y="3409951"/>
            <a:ext cx="12430128"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0" tIns="34285" rIns="68570" bIns="34285" numCol="1" anchor="t" anchorCtr="0" compatLnSpc="1">
            <a:prstTxWarp prst="textNoShape">
              <a:avLst/>
            </a:prstTxWarp>
          </a:bodyPr>
          <a:lstStyle/>
          <a:p>
            <a:pPr defTabSz="699493"/>
            <a:endParaRPr lang="en-US" sz="1350">
              <a:solidFill>
                <a:srgbClr val="FFFFFF"/>
              </a:solidFill>
            </a:endParaRPr>
          </a:p>
        </p:txBody>
      </p:sp>
      <p:sp>
        <p:nvSpPr>
          <p:cNvPr id="13" name="Rectangle 12"/>
          <p:cNvSpPr/>
          <p:nvPr userDrawn="1"/>
        </p:nvSpPr>
        <p:spPr bwMode="white">
          <a:xfrm>
            <a:off x="636"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2" rIns="137141" bIns="109712" numCol="1" spcCol="0" rtlCol="0" fromWordArt="0" anchor="t" anchorCtr="0" forceAA="0" compatLnSpc="1">
            <a:prstTxWarp prst="textNoShape">
              <a:avLst/>
            </a:prstTxWarp>
            <a:noAutofit/>
          </a:bodyPr>
          <a:lstStyle/>
          <a:p>
            <a:pPr algn="ctr" defTabSz="699291" fontAlgn="base">
              <a:lnSpc>
                <a:spcPct val="90000"/>
              </a:lnSpc>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1" y="3954458"/>
            <a:ext cx="6399212" cy="1830388"/>
          </a:xfrm>
          <a:noFill/>
        </p:spPr>
        <p:txBody>
          <a:bodyPr lIns="146304" tIns="109728" rIns="146304" bIns="109728">
            <a:noAutofit/>
          </a:bodyPr>
          <a:lstStyle>
            <a:lvl1pPr marL="0" indent="0">
              <a:spcBef>
                <a:spcPts val="0"/>
              </a:spcBef>
              <a:buNone/>
              <a:defRPr sz="27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4500" spc="-75"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333" y="6182441"/>
            <a:ext cx="1552931" cy="332660"/>
          </a:xfrm>
          <a:prstGeom prst="rect">
            <a:avLst/>
          </a:prstGeom>
        </p:spPr>
      </p:pic>
      <p:sp>
        <p:nvSpPr>
          <p:cNvPr id="8" name="Rectangle 6"/>
          <p:cNvSpPr>
            <a:spLocks noChangeArrowheads="1"/>
          </p:cNvSpPr>
          <p:nvPr userDrawn="1"/>
        </p:nvSpPr>
        <p:spPr bwMode="auto">
          <a:xfrm>
            <a:off x="3174" y="4395789"/>
            <a:ext cx="12433301"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70" tIns="34285" rIns="68570" bIns="34285" numCol="1" anchor="t" anchorCtr="0" compatLnSpc="1">
            <a:prstTxWarp prst="textNoShape">
              <a:avLst/>
            </a:prstTxWarp>
          </a:bodyPr>
          <a:lstStyle/>
          <a:p>
            <a:pPr defTabSz="699493"/>
            <a:endParaRPr lang="en-US" sz="1350">
              <a:solidFill>
                <a:srgbClr val="FFFFFF"/>
              </a:solidFill>
            </a:endParaRPr>
          </a:p>
        </p:txBody>
      </p:sp>
      <p:sp>
        <p:nvSpPr>
          <p:cNvPr id="14" name="TextBox 7"/>
          <p:cNvSpPr txBox="1"/>
          <p:nvPr userDrawn="1"/>
        </p:nvSpPr>
        <p:spPr bwMode="white">
          <a:xfrm>
            <a:off x="4810417" y="6717858"/>
            <a:ext cx="2815643"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87" spc="112"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
        <p:nvSpPr>
          <p:cNvPr id="17" name="Text Placeholder 16"/>
          <p:cNvSpPr>
            <a:spLocks noGrp="1"/>
          </p:cNvSpPr>
          <p:nvPr>
            <p:ph type="body" sz="quarter" idx="13" hasCustomPrompt="1"/>
          </p:nvPr>
        </p:nvSpPr>
        <p:spPr>
          <a:xfrm>
            <a:off x="274639" y="296863"/>
            <a:ext cx="3657599" cy="396108"/>
          </a:xfrm>
        </p:spPr>
        <p:txBody>
          <a:bodyPr/>
          <a:lstStyle>
            <a:lvl1pPr marL="0" indent="0">
              <a:buNone/>
              <a:defRPr sz="1500">
                <a:latin typeface="+mn-lt"/>
              </a:defRPr>
            </a:lvl1pPr>
            <a:lvl2pPr marL="257151" indent="0">
              <a:buNone/>
              <a:defRPr sz="1500"/>
            </a:lvl2pPr>
            <a:lvl3pPr marL="428586" indent="0">
              <a:buNone/>
              <a:defRPr sz="1500"/>
            </a:lvl3pPr>
            <a:lvl4pPr marL="600021" indent="0">
              <a:buNone/>
              <a:defRPr sz="1500"/>
            </a:lvl4pPr>
            <a:lvl5pPr marL="771455" indent="0">
              <a:buNone/>
              <a:defRPr sz="1500"/>
            </a:lvl5pPr>
          </a:lstStyle>
          <a:p>
            <a:pPr lvl="0"/>
            <a:r>
              <a:rPr lang="en-US" dirty="0" smtClean="0"/>
              <a:t>Session Code</a:t>
            </a:r>
            <a:endParaRPr lang="en-US" dirty="0"/>
          </a:p>
        </p:txBody>
      </p:sp>
    </p:spTree>
    <p:extLst>
      <p:ext uri="{BB962C8B-B14F-4D97-AF65-F5344CB8AC3E}">
        <p14:creationId xmlns:p14="http://schemas.microsoft.com/office/powerpoint/2010/main" val="1582907405"/>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1_Confidentiality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smtClean="0"/>
              <a:t>Click to edit Master title style</a:t>
            </a:r>
            <a:endParaRPr lang="en-US"/>
          </a:p>
        </p:txBody>
      </p:sp>
    </p:spTree>
    <p:extLst>
      <p:ext uri="{BB962C8B-B14F-4D97-AF65-F5344CB8AC3E}">
        <p14:creationId xmlns:p14="http://schemas.microsoft.com/office/powerpoint/2010/main" val="4255995846"/>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1_Blank Accent Color 2">
    <p:spTree>
      <p:nvGrpSpPr>
        <p:cNvPr id="1" name=""/>
        <p:cNvGrpSpPr/>
        <p:nvPr/>
      </p:nvGrpSpPr>
      <p:grpSpPr>
        <a:xfrm>
          <a:off x="0" y="0"/>
          <a:ext cx="0" cy="0"/>
          <a:chOff x="0" y="0"/>
          <a:chExt cx="0" cy="0"/>
        </a:xfrm>
      </p:grpSpPr>
      <p:sp>
        <p:nvSpPr>
          <p:cNvPr id="2" name="TextBox 7"/>
          <p:cNvSpPr txBox="1"/>
          <p:nvPr userDrawn="1"/>
        </p:nvSpPr>
        <p:spPr bwMode="white">
          <a:xfrm>
            <a:off x="4810417" y="6717858"/>
            <a:ext cx="2815643"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87" spc="112"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716223133"/>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1_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4"/>
            <a:ext cx="11889564" cy="917575"/>
          </a:xfrm>
        </p:spPr>
        <p:txBody>
          <a:bodyPr/>
          <a:lstStyle>
            <a:lvl1pPr>
              <a:defRPr sz="5399" baseline="0"/>
            </a:lvl1pPr>
          </a:lstStyle>
          <a:p>
            <a:r>
              <a:rPr lang="en-US" smtClean="0"/>
              <a:t>Click to edit Master title style</a:t>
            </a:r>
            <a:endParaRPr lang="en-US" dirty="0"/>
          </a:p>
        </p:txBody>
      </p:sp>
      <p:sp>
        <p:nvSpPr>
          <p:cNvPr id="3" name="TextBox 7"/>
          <p:cNvSpPr txBox="1"/>
          <p:nvPr userDrawn="1"/>
        </p:nvSpPr>
        <p:spPr bwMode="white">
          <a:xfrm>
            <a:off x="4810417" y="6717858"/>
            <a:ext cx="2815643"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87" spc="112"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590194271"/>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1_Demo slide">
    <p:bg>
      <p:bgPr>
        <a:solidFill>
          <a:schemeClr val="accent2"/>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771718" y="304193"/>
            <a:ext cx="5395170" cy="6400800"/>
          </a:xfrm>
          <a:prstGeom prst="rect">
            <a:avLst/>
          </a:prstGeom>
        </p:spPr>
      </p:pic>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2" rIns="137141" bIns="109712" numCol="1" spcCol="0" rtlCol="0" fromWordArt="0" anchor="t" anchorCtr="0" forceAA="0" compatLnSpc="1">
            <a:prstTxWarp prst="textNoShape">
              <a:avLst/>
            </a:prstTxWarp>
            <a:noAutofit/>
          </a:bodyPr>
          <a:lstStyle/>
          <a:p>
            <a:pPr algn="ctr" defTabSz="699291" fontAlgn="base">
              <a:lnSpc>
                <a:spcPct val="90000"/>
              </a:lnSpc>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40" y="1209973"/>
            <a:ext cx="7314044" cy="3475534"/>
          </a:xfrm>
          <a:noFill/>
        </p:spPr>
        <p:txBody>
          <a:bodyPr tIns="91440" bIns="91440" anchor="t" anchorCtr="0"/>
          <a:lstStyle>
            <a:lvl1pPr>
              <a:defRPr sz="5399" spc="-75" baseline="0">
                <a:gradFill>
                  <a:gsLst>
                    <a:gs pos="75912">
                      <a:schemeClr val="tx1"/>
                    </a:gs>
                    <a:gs pos="34307">
                      <a:schemeClr val="tx1"/>
                    </a:gs>
                    <a:gs pos="43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40" y="4685508"/>
            <a:ext cx="7315200" cy="1829593"/>
          </a:xfrm>
          <a:noFill/>
        </p:spPr>
        <p:txBody>
          <a:bodyPr lIns="182880" tIns="146304" rIns="182880" bIns="146304">
            <a:noAutofit/>
          </a:bodyPr>
          <a:lstStyle>
            <a:lvl1pPr marL="0" indent="0">
              <a:spcBef>
                <a:spcPts val="0"/>
              </a:spcBef>
              <a:buNone/>
              <a:defRPr sz="2700" spc="0" baseline="0">
                <a:gradFill>
                  <a:gsLst>
                    <a:gs pos="75912">
                      <a:schemeClr val="tx1"/>
                    </a:gs>
                    <a:gs pos="34307">
                      <a:schemeClr val="tx1"/>
                    </a:gs>
                    <a:gs pos="43000">
                      <a:schemeClr val="tx1"/>
                    </a:gs>
                  </a:gsLst>
                  <a:lin ang="5400000" scaled="0"/>
                </a:gradFill>
                <a:latin typeface="+mj-lt"/>
              </a:defRPr>
            </a:lvl1pPr>
          </a:lstStyle>
          <a:p>
            <a:pPr lvl="0"/>
            <a:r>
              <a:rPr lang="en-US" dirty="0" smtClean="0"/>
              <a:t>Speaker Name</a:t>
            </a:r>
          </a:p>
        </p:txBody>
      </p:sp>
      <p:sp>
        <p:nvSpPr>
          <p:cNvPr id="7" name="TextBox 7"/>
          <p:cNvSpPr txBox="1"/>
          <p:nvPr userDrawn="1"/>
        </p:nvSpPr>
        <p:spPr bwMode="white">
          <a:xfrm>
            <a:off x="4810417" y="6717858"/>
            <a:ext cx="2815643"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87" spc="112"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4059182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9" y="2136776"/>
            <a:ext cx="10056812" cy="1181862"/>
          </a:xfrm>
          <a:noFill/>
        </p:spPr>
        <p:txBody>
          <a:bodyPr tIns="91440" bIns="91440" anchor="t" anchorCtr="0">
            <a:spAutoFit/>
          </a:bodyPr>
          <a:lstStyle>
            <a:lvl1pPr>
              <a:defRPr sz="7199" spc="-100"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9" y="4881266"/>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6" name="Rectangle 5"/>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38976025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9" y="2125663"/>
            <a:ext cx="10056812" cy="1181862"/>
          </a:xfrm>
          <a:noFill/>
        </p:spPr>
        <p:txBody>
          <a:bodyPr tIns="91440" bIns="91440" anchor="t" anchorCtr="0">
            <a:spAutoFit/>
          </a:bodyPr>
          <a:lstStyle>
            <a:lvl1pPr>
              <a:defRPr lang="en-US" sz="7199"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
        <p:nvSpPr>
          <p:cNvPr id="4" name="Rectangle 3"/>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20258259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72884901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6893455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315834702"/>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908698505"/>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266291156"/>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219825" y="1"/>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2366974557"/>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 Color">
    <p:bg>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9" name="Title 1"/>
          <p:cNvSpPr>
            <a:spLocks noGrp="1"/>
          </p:cNvSpPr>
          <p:nvPr>
            <p:ph type="title" hasCustomPrompt="1"/>
          </p:nvPr>
        </p:nvSpPr>
        <p:spPr>
          <a:xfrm>
            <a:off x="274702" y="2125677"/>
            <a:ext cx="9143936" cy="1828786"/>
          </a:xfrm>
          <a:noFill/>
        </p:spPr>
        <p:txBody>
          <a:bodyPr lIns="146304" tIns="91440" rIns="146304" bIns="91440" anchor="t" anchorCtr="0"/>
          <a:lstStyle>
            <a:lvl1pPr>
              <a:defRPr sz="5399" spc="-100" baseline="0">
                <a:gradFill>
                  <a:gsLst>
                    <a:gs pos="99115">
                      <a:schemeClr val="tx1"/>
                    </a:gs>
                    <a:gs pos="7900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2" y="3955785"/>
            <a:ext cx="7315137" cy="1828007"/>
          </a:xfrm>
          <a:noFill/>
        </p:spPr>
        <p:txBody>
          <a:bodyPr lIns="146304" tIns="109728" rIns="146304" bIns="109728">
            <a:noAutofit/>
          </a:bodyPr>
          <a:lstStyle>
            <a:lvl1pPr marL="0" indent="0">
              <a:spcBef>
                <a:spcPts val="0"/>
              </a:spcBef>
              <a:buNone/>
              <a:defRPr sz="3200" spc="0" baseline="0">
                <a:gradFill>
                  <a:gsLst>
                    <a:gs pos="99115">
                      <a:schemeClr val="tx1"/>
                    </a:gs>
                    <a:gs pos="79000">
                      <a:schemeClr val="tx1"/>
                    </a:gs>
                  </a:gsLst>
                  <a:lin ang="5400000" scaled="0"/>
                </a:gradFill>
                <a:latin typeface="+mj-lt"/>
              </a:defRPr>
            </a:lvl1pPr>
          </a:lstStyle>
          <a:p>
            <a:pPr lvl="0"/>
            <a:r>
              <a:rPr lang="en-US" dirty="0" smtClean="0"/>
              <a:t>Speaker Name</a:t>
            </a:r>
          </a:p>
        </p:txBody>
      </p:sp>
      <p:sp>
        <p:nvSpPr>
          <p:cNvPr id="7" name="Rectangle 6"/>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
        <p:nvSpPr>
          <p:cNvPr id="4" name="Text Placeholder 3"/>
          <p:cNvSpPr>
            <a:spLocks noGrp="1"/>
          </p:cNvSpPr>
          <p:nvPr>
            <p:ph type="body" sz="quarter" idx="13" hasCustomPrompt="1"/>
          </p:nvPr>
        </p:nvSpPr>
        <p:spPr>
          <a:xfrm>
            <a:off x="322262" y="360323"/>
            <a:ext cx="2667000" cy="406265"/>
          </a:xfrm>
        </p:spPr>
        <p:txBody>
          <a:bodyPr/>
          <a:lstStyle>
            <a:lvl1pPr marL="0" indent="0">
              <a:buFontTx/>
              <a:buNone/>
              <a:defRPr sz="1600" baseline="0">
                <a:latin typeface="+mn-lt"/>
              </a:defRPr>
            </a:lvl1pPr>
            <a:lvl2pPr marL="342873" indent="0">
              <a:buFontTx/>
              <a:buNone/>
              <a:defRPr sz="1600">
                <a:latin typeface="+mn-lt"/>
              </a:defRPr>
            </a:lvl2pPr>
            <a:lvl3pPr marL="571454" indent="0">
              <a:buFontTx/>
              <a:buNone/>
              <a:defRPr sz="1600">
                <a:latin typeface="+mn-lt"/>
              </a:defRPr>
            </a:lvl3pPr>
            <a:lvl4pPr marL="800036" indent="0">
              <a:buFontTx/>
              <a:buNone/>
              <a:defRPr sz="1600">
                <a:latin typeface="+mn-lt"/>
              </a:defRPr>
            </a:lvl4pPr>
            <a:lvl5pPr marL="1028617" indent="0">
              <a:buFontTx/>
              <a:buNone/>
              <a:defRPr sz="1600">
                <a:latin typeface="+mn-lt"/>
              </a:defRPr>
            </a:lvl5pPr>
          </a:lstStyle>
          <a:p>
            <a:pPr lvl="0"/>
            <a:r>
              <a:rPr lang="en-US" dirty="0" smtClean="0"/>
              <a:t>SESSION CODE</a:t>
            </a:r>
          </a:p>
        </p:txBody>
      </p:sp>
    </p:spTree>
    <p:extLst>
      <p:ext uri="{BB962C8B-B14F-4D97-AF65-F5344CB8AC3E}">
        <p14:creationId xmlns:p14="http://schemas.microsoft.com/office/powerpoint/2010/main" val="25882318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8849218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0159915"/>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2390786"/>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398" fontAlgn="base">
              <a:spcBef>
                <a:spcPct val="0"/>
              </a:spcBef>
              <a:spcAft>
                <a:spcPct val="0"/>
              </a:spcAft>
            </a:pPr>
            <a:endParaRPr lang="en-US" sz="225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9" y="1221158"/>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56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9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1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29962453"/>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2" y="0"/>
            <a:ext cx="12435840" cy="6995160"/>
          </a:xfrm>
          <a:prstGeom prst="rect">
            <a:avLst/>
          </a:prstGeom>
        </p:spPr>
      </p:pic>
      <p:sp>
        <p:nvSpPr>
          <p:cNvPr id="6" name="Rectangle 5"/>
          <p:cNvSpPr/>
          <p:nvPr userDrawn="1"/>
        </p:nvSpPr>
        <p:spPr bwMode="gray">
          <a:xfrm>
            <a:off x="0" y="4868863"/>
            <a:ext cx="12436475" cy="2125662"/>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2" name="Text Box 3"/>
          <p:cNvSpPr txBox="1">
            <a:spLocks noChangeArrowheads="1"/>
          </p:cNvSpPr>
          <p:nvPr userDrawn="1"/>
        </p:nvSpPr>
        <p:spPr bwMode="white">
          <a:xfrm>
            <a:off x="7589822" y="6294476"/>
            <a:ext cx="45719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algn="r" defTabSz="932215" eaLnBrk="0" hangingPunct="0"/>
            <a:r>
              <a:rPr lang="en-US" sz="700" dirty="0">
                <a:gradFill>
                  <a:gsLst>
                    <a:gs pos="12389">
                      <a:srgbClr val="FFFFFF"/>
                    </a:gs>
                    <a:gs pos="54000">
                      <a:srgbClr val="FFFFFF"/>
                    </a:gs>
                  </a:gsLst>
                  <a:lin ang="5400000" scaled="0"/>
                </a:gradFill>
                <a:cs typeface="Segoe UI" pitchFamily="34" charset="0"/>
              </a:rPr>
              <a:t>© </a:t>
            </a:r>
            <a:r>
              <a:rPr lang="en-US" sz="700" dirty="0" smtClean="0">
                <a:gradFill>
                  <a:gsLst>
                    <a:gs pos="12389">
                      <a:srgbClr val="FFFFFF"/>
                    </a:gs>
                    <a:gs pos="54000">
                      <a:srgbClr val="FFFFFF"/>
                    </a:gs>
                  </a:gsLst>
                  <a:lin ang="5400000" scaled="0"/>
                </a:gradFill>
                <a:cs typeface="Segoe UI" pitchFamily="34" charset="0"/>
              </a:rPr>
              <a:t>2015 </a:t>
            </a:r>
            <a:r>
              <a:rPr lang="en-US" sz="700" dirty="0">
                <a:gradFill>
                  <a:gsLst>
                    <a:gs pos="12389">
                      <a:srgbClr val="FFFFFF"/>
                    </a:gs>
                    <a:gs pos="54000">
                      <a:srgbClr val="FFFFFF"/>
                    </a:gs>
                  </a:gsLst>
                  <a:lin ang="5400000" scaled="0"/>
                </a:gradFill>
                <a:cs typeface="Segoe UI" pitchFamily="34" charset="0"/>
              </a:rPr>
              <a:t>Microsoft Corporation. All rights reserved. </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59230" y="5580859"/>
            <a:ext cx="3291840" cy="701671"/>
          </a:xfrm>
          <a:prstGeom prst="rect">
            <a:avLst/>
          </a:prstGeom>
        </p:spPr>
      </p:pic>
    </p:spTree>
    <p:extLst>
      <p:ext uri="{BB962C8B-B14F-4D97-AF65-F5344CB8AC3E}">
        <p14:creationId xmlns:p14="http://schemas.microsoft.com/office/powerpoint/2010/main" val="1729398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490" indent="-290490">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454" indent="-280966">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944" indent="-290490">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526" indent="-228582">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107" indent="-228582">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482969643"/>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4439772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587"/>
            <a:ext cx="12430199" cy="6991986"/>
          </a:xfrm>
          <a:prstGeom prst="rect">
            <a:avLst/>
          </a:prstGeom>
          <a:noFill/>
          <a:ln>
            <a:noFill/>
          </a:ln>
        </p:spPr>
      </p:pic>
      <p:sp>
        <p:nvSpPr>
          <p:cNvPr id="3" name="Rectangle 2"/>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5"/>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
        <p:nvSpPr>
          <p:cNvPr id="9" name="Rectangle 8"/>
          <p:cNvSpPr/>
          <p:nvPr userDrawn="1"/>
        </p:nvSpPr>
        <p:spPr>
          <a:xfrm>
            <a:off x="293752" y="3040063"/>
            <a:ext cx="4333238" cy="784830"/>
          </a:xfrm>
          <a:prstGeom prst="rect">
            <a:avLst/>
          </a:prstGeom>
        </p:spPr>
        <p:txBody>
          <a:bodyPr wrap="none" anchor="ctr">
            <a:spAutoFit/>
          </a:bodyPr>
          <a:lstStyle/>
          <a:p>
            <a:pPr algn="r" defTabSz="1165834">
              <a:lnSpc>
                <a:spcPct val="90000"/>
              </a:lnSpc>
              <a:spcBef>
                <a:spcPct val="0"/>
              </a:spcBef>
            </a:pPr>
            <a:r>
              <a:rPr lang="en-US" sz="5000" spc="-125" dirty="0" smtClean="0">
                <a:ln w="3175">
                  <a:noFill/>
                </a:ln>
                <a:gradFill>
                  <a:gsLst>
                    <a:gs pos="84066">
                      <a:srgbClr val="000000"/>
                    </a:gs>
                    <a:gs pos="57576">
                      <a:srgbClr val="000000"/>
                    </a:gs>
                  </a:gsLst>
                  <a:lin ang="5400000" scaled="0"/>
                </a:gradFill>
                <a:latin typeface="Segoe UI Light"/>
                <a:cs typeface="Segoe UI" pitchFamily="34" charset="0"/>
              </a:rPr>
              <a:t>Spark the future.</a:t>
            </a:r>
            <a:endParaRPr lang="en-US" sz="5000" spc="-125" dirty="0">
              <a:ln w="3175">
                <a:noFill/>
              </a:ln>
              <a:gradFill>
                <a:gsLst>
                  <a:gs pos="84066">
                    <a:srgbClr val="000000"/>
                  </a:gs>
                  <a:gs pos="57576">
                    <a:srgbClr val="000000"/>
                  </a:gs>
                </a:gsLst>
                <a:lin ang="5400000" scaled="0"/>
              </a:gradFill>
              <a:latin typeface="Segoe UI Light"/>
              <a:cs typeface="Segoe UI" pitchFamily="34" charset="0"/>
            </a:endParaRPr>
          </a:p>
        </p:txBody>
      </p:sp>
      <p:sp>
        <p:nvSpPr>
          <p:cNvPr id="10" name="Rectangle 9"/>
          <p:cNvSpPr/>
          <p:nvPr userDrawn="1"/>
        </p:nvSpPr>
        <p:spPr>
          <a:xfrm>
            <a:off x="2441776" y="4617847"/>
            <a:ext cx="2185214" cy="715581"/>
          </a:xfrm>
          <a:prstGeom prst="rect">
            <a:avLst/>
          </a:prstGeom>
        </p:spPr>
        <p:txBody>
          <a:bodyPr wrap="none" anchor="ctr">
            <a:spAutoFit/>
          </a:bodyPr>
          <a:lstStyle/>
          <a:p>
            <a:pPr algn="r" defTabSz="1165834">
              <a:lnSpc>
                <a:spcPct val="90000"/>
              </a:lnSpc>
              <a:spcBef>
                <a:spcPct val="0"/>
              </a:spcBef>
            </a:pPr>
            <a:r>
              <a:rPr lang="en-US" sz="2250" dirty="0" smtClean="0">
                <a:ln w="3175">
                  <a:noFill/>
                </a:ln>
                <a:gradFill>
                  <a:gsLst>
                    <a:gs pos="84066">
                      <a:srgbClr val="000000"/>
                    </a:gs>
                    <a:gs pos="57576">
                      <a:srgbClr val="000000"/>
                    </a:gs>
                  </a:gsLst>
                  <a:lin ang="5400000" scaled="0"/>
                </a:gradFill>
                <a:cs typeface="Segoe UI" pitchFamily="34" charset="0"/>
              </a:rPr>
              <a:t>May 4 – 8, 2015</a:t>
            </a:r>
            <a:br>
              <a:rPr lang="en-US" sz="2250" dirty="0" smtClean="0">
                <a:ln w="3175">
                  <a:noFill/>
                </a:ln>
                <a:gradFill>
                  <a:gsLst>
                    <a:gs pos="84066">
                      <a:srgbClr val="000000"/>
                    </a:gs>
                    <a:gs pos="57576">
                      <a:srgbClr val="000000"/>
                    </a:gs>
                  </a:gsLst>
                  <a:lin ang="5400000" scaled="0"/>
                </a:gradFill>
                <a:cs typeface="Segoe UI" pitchFamily="34" charset="0"/>
              </a:rPr>
            </a:br>
            <a:r>
              <a:rPr lang="en-US" sz="2250" dirty="0" smtClean="0">
                <a:ln w="3175">
                  <a:noFill/>
                </a:ln>
                <a:gradFill>
                  <a:gsLst>
                    <a:gs pos="84066">
                      <a:srgbClr val="000000"/>
                    </a:gs>
                    <a:gs pos="57576">
                      <a:srgbClr val="000000"/>
                    </a:gs>
                  </a:gsLst>
                  <a:lin ang="5400000" scaled="0"/>
                </a:gradFill>
                <a:cs typeface="Segoe UI" pitchFamily="34" charset="0"/>
              </a:rPr>
              <a:t>Chicago, IL</a:t>
            </a:r>
            <a:endParaRPr lang="en-US" sz="2250" dirty="0">
              <a:ln w="3175">
                <a:noFill/>
              </a:ln>
              <a:gradFill>
                <a:gsLst>
                  <a:gs pos="84066">
                    <a:srgbClr val="000000"/>
                  </a:gs>
                  <a:gs pos="57576">
                    <a:srgbClr val="000000"/>
                  </a:gs>
                </a:gsLst>
                <a:lin ang="5400000" scaled="0"/>
              </a:gradFill>
              <a:cs typeface="Segoe UI" pitchFamily="34" charset="0"/>
            </a:endParaRPr>
          </a:p>
        </p:txBody>
      </p:sp>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002510" y="4088040"/>
            <a:ext cx="2494315" cy="384949"/>
          </a:xfrm>
          <a:prstGeom prst="rect">
            <a:avLst/>
          </a:prstGeom>
        </p:spPr>
      </p:pic>
    </p:spTree>
    <p:extLst>
      <p:ext uri="{BB962C8B-B14F-4D97-AF65-F5344CB8AC3E}">
        <p14:creationId xmlns:p14="http://schemas.microsoft.com/office/powerpoint/2010/main" val="4094152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lide - Color">
    <p:bg>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9" name="Title 1"/>
          <p:cNvSpPr>
            <a:spLocks noGrp="1"/>
          </p:cNvSpPr>
          <p:nvPr>
            <p:ph type="title" hasCustomPrompt="1"/>
          </p:nvPr>
        </p:nvSpPr>
        <p:spPr>
          <a:xfrm>
            <a:off x="274702" y="2125677"/>
            <a:ext cx="9143936" cy="1828786"/>
          </a:xfrm>
          <a:noFill/>
        </p:spPr>
        <p:txBody>
          <a:bodyPr lIns="146304" tIns="91440" rIns="146304" bIns="91440" anchor="t" anchorCtr="0"/>
          <a:lstStyle>
            <a:lvl1pPr>
              <a:defRPr sz="5399" spc="-100" baseline="0">
                <a:gradFill>
                  <a:gsLst>
                    <a:gs pos="99115">
                      <a:schemeClr val="tx1"/>
                    </a:gs>
                    <a:gs pos="7900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2" y="3955785"/>
            <a:ext cx="7315137" cy="1828007"/>
          </a:xfrm>
          <a:noFill/>
        </p:spPr>
        <p:txBody>
          <a:bodyPr lIns="146304" tIns="109728" rIns="146304" bIns="109728">
            <a:noAutofit/>
          </a:bodyPr>
          <a:lstStyle>
            <a:lvl1pPr marL="0" indent="0">
              <a:spcBef>
                <a:spcPts val="0"/>
              </a:spcBef>
              <a:buNone/>
              <a:defRPr sz="3200" spc="0" baseline="0">
                <a:gradFill>
                  <a:gsLst>
                    <a:gs pos="99115">
                      <a:schemeClr val="tx1"/>
                    </a:gs>
                    <a:gs pos="79000">
                      <a:schemeClr val="tx1"/>
                    </a:gs>
                  </a:gsLst>
                  <a:lin ang="5400000" scaled="0"/>
                </a:gradFill>
                <a:latin typeface="+mj-lt"/>
              </a:defRPr>
            </a:lvl1pPr>
          </a:lstStyle>
          <a:p>
            <a:pPr lvl="0"/>
            <a:r>
              <a:rPr lang="en-US" dirty="0" smtClean="0"/>
              <a:t>Speaker Name</a:t>
            </a:r>
          </a:p>
        </p:txBody>
      </p:sp>
      <p:sp>
        <p:nvSpPr>
          <p:cNvPr id="7" name="Rectangle 6"/>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
        <p:nvSpPr>
          <p:cNvPr id="8" name="Text Placeholder 3"/>
          <p:cNvSpPr>
            <a:spLocks noGrp="1"/>
          </p:cNvSpPr>
          <p:nvPr>
            <p:ph type="body" sz="quarter" idx="13" hasCustomPrompt="1"/>
          </p:nvPr>
        </p:nvSpPr>
        <p:spPr>
          <a:xfrm>
            <a:off x="322262" y="360323"/>
            <a:ext cx="2667000" cy="406265"/>
          </a:xfrm>
        </p:spPr>
        <p:txBody>
          <a:bodyPr/>
          <a:lstStyle>
            <a:lvl1pPr marL="0" indent="0">
              <a:buFontTx/>
              <a:buNone/>
              <a:defRPr sz="1600" baseline="0">
                <a:latin typeface="+mn-lt"/>
              </a:defRPr>
            </a:lvl1pPr>
            <a:lvl2pPr marL="342873" indent="0">
              <a:buFontTx/>
              <a:buNone/>
              <a:defRPr sz="1600">
                <a:latin typeface="+mn-lt"/>
              </a:defRPr>
            </a:lvl2pPr>
            <a:lvl3pPr marL="571454" indent="0">
              <a:buFontTx/>
              <a:buNone/>
              <a:defRPr sz="1600">
                <a:latin typeface="+mn-lt"/>
              </a:defRPr>
            </a:lvl3pPr>
            <a:lvl4pPr marL="800036" indent="0">
              <a:buFontTx/>
              <a:buNone/>
              <a:defRPr sz="1600">
                <a:latin typeface="+mn-lt"/>
              </a:defRPr>
            </a:lvl4pPr>
            <a:lvl5pPr marL="1028617" indent="0">
              <a:buFontTx/>
              <a:buNone/>
              <a:defRPr sz="1600">
                <a:latin typeface="+mn-lt"/>
              </a:defRPr>
            </a:lvl5pPr>
          </a:lstStyle>
          <a:p>
            <a:pPr lvl="0"/>
            <a:r>
              <a:rPr lang="en-US" dirty="0" smtClean="0"/>
              <a:t>SESSION CODE</a:t>
            </a:r>
          </a:p>
        </p:txBody>
      </p:sp>
    </p:spTree>
    <p:extLst>
      <p:ext uri="{BB962C8B-B14F-4D97-AF65-F5344CB8AC3E}">
        <p14:creationId xmlns:p14="http://schemas.microsoft.com/office/powerpoint/2010/main" val="34823451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20354">
                      <a:schemeClr val="tx2"/>
                    </a:gs>
                    <a:gs pos="40000">
                      <a:schemeClr val="tx2"/>
                    </a:gs>
                  </a:gsLst>
                  <a:lin ang="5400000" scaled="0"/>
                </a:gradFill>
              </a:defRPr>
            </a:lvl1pPr>
            <a:lvl2pPr marL="0" indent="0">
              <a:buFontTx/>
              <a:buNone/>
              <a:defRPr sz="2000"/>
            </a:lvl2pPr>
            <a:lvl3pPr marL="228582" indent="0">
              <a:buNone/>
              <a:defRPr/>
            </a:lvl3pPr>
            <a:lvl4pPr marL="457163" indent="0">
              <a:buNone/>
              <a:defRPr/>
            </a:lvl4pPr>
            <a:lvl5pPr marL="685745"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31337368"/>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20354">
                      <a:schemeClr val="tx2"/>
                    </a:gs>
                    <a:gs pos="40000">
                      <a:schemeClr val="tx2"/>
                    </a:gs>
                  </a:gsLst>
                  <a:lin ang="5400000" scaled="0"/>
                </a:gradFill>
              </a:defRPr>
            </a:lvl1pPr>
            <a:lvl2pPr marL="0" indent="0">
              <a:buFontTx/>
              <a:buNone/>
              <a:defRPr sz="2000"/>
            </a:lvl2pPr>
            <a:lvl3pPr marL="228582" indent="0">
              <a:buNone/>
              <a:defRPr/>
            </a:lvl3pPr>
            <a:lvl4pPr marL="457163" indent="0">
              <a:buNone/>
              <a:defRPr/>
            </a:lvl4pPr>
            <a:lvl5pPr marL="685745"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53197817"/>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82" indent="0">
              <a:buNone/>
              <a:defRPr/>
            </a:lvl3pPr>
            <a:lvl4pPr marL="457163" indent="0">
              <a:buNone/>
              <a:defRPr/>
            </a:lvl4pPr>
            <a:lvl5pPr marL="685745"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24910224"/>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buClr>
                <a:schemeClr val="tx2"/>
              </a:buClr>
              <a:defRPr sz="4000">
                <a:gradFill>
                  <a:gsLst>
                    <a:gs pos="7080">
                      <a:schemeClr val="tx2"/>
                    </a:gs>
                    <a:gs pos="36283">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739465539"/>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defRPr sz="40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130196150"/>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389">
                      <a:schemeClr val="tx2"/>
                    </a:gs>
                    <a:gs pos="31000">
                      <a:schemeClr val="tx2"/>
                    </a:gs>
                  </a:gsLst>
                  <a:lin ang="5400000" scaled="0"/>
                </a:gradFill>
              </a:defRPr>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389">
                      <a:schemeClr val="tx2"/>
                    </a:gs>
                    <a:gs pos="31000">
                      <a:schemeClr val="tx2"/>
                    </a:gs>
                  </a:gsLst>
                  <a:lin ang="5400000" scaled="0"/>
                </a:gradFill>
              </a:defRPr>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3630832"/>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24356706"/>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315" indent="-287315">
              <a:spcBef>
                <a:spcPts val="1224"/>
              </a:spcBef>
              <a:buClr>
                <a:schemeClr val="tx2"/>
              </a:buClr>
              <a:buFont typeface="Wingdings" panose="05000000000000000000" pitchFamily="2" charset="2"/>
              <a:buChar char="§"/>
              <a:defRPr sz="3200">
                <a:gradFill>
                  <a:gsLst>
                    <a:gs pos="19469">
                      <a:schemeClr val="tx2"/>
                    </a:gs>
                    <a:gs pos="32000">
                      <a:schemeClr val="tx2"/>
                    </a:gs>
                  </a:gsLst>
                  <a:lin ang="5400000" scaled="0"/>
                </a:gradFill>
              </a:defRPr>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2425279"/>
          </a:xfrm>
        </p:spPr>
        <p:txBody>
          <a:bodyPr wrap="square">
            <a:spAutoFit/>
          </a:bodyPr>
          <a:lstStyle>
            <a:lvl1pPr marL="287315" indent="-287315">
              <a:spcBef>
                <a:spcPts val="1224"/>
              </a:spcBef>
              <a:buClr>
                <a:schemeClr val="tx2"/>
              </a:buClr>
              <a:buFont typeface="Wingdings" panose="05000000000000000000" pitchFamily="2" charset="2"/>
              <a:buChar char="§"/>
              <a:defRPr sz="3200">
                <a:gradFill>
                  <a:gsLst>
                    <a:gs pos="19469">
                      <a:schemeClr val="tx2"/>
                    </a:gs>
                    <a:gs pos="32000">
                      <a:schemeClr val="tx2"/>
                    </a:gs>
                  </a:gsLst>
                  <a:lin ang="5400000" scaled="0"/>
                </a:gradFill>
              </a:defRPr>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54104970"/>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315" indent="-287315">
              <a:spcBef>
                <a:spcPts val="1224"/>
              </a:spcBef>
              <a:buClr>
                <a:schemeClr val="tx1"/>
              </a:buClr>
              <a:buFont typeface="Wingdings" panose="05000000000000000000" pitchFamily="2" charset="2"/>
              <a:buChar char="§"/>
              <a:defRPr sz="3200"/>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2425279"/>
          </a:xfrm>
        </p:spPr>
        <p:txBody>
          <a:bodyPr wrap="square">
            <a:spAutoFit/>
          </a:bodyPr>
          <a:lstStyle>
            <a:lvl1pPr marL="287315" indent="-287315">
              <a:spcBef>
                <a:spcPts val="1224"/>
              </a:spcBef>
              <a:buClr>
                <a:schemeClr val="tx1"/>
              </a:buClr>
              <a:buFont typeface="Wingdings" panose="05000000000000000000" pitchFamily="2" charset="2"/>
              <a:buChar char="§"/>
              <a:defRPr sz="3200"/>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2772952"/>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3811946093"/>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9" y="2136776"/>
            <a:ext cx="10056812" cy="1181862"/>
          </a:xfrm>
          <a:noFill/>
        </p:spPr>
        <p:txBody>
          <a:bodyPr tIns="91440" bIns="91440" anchor="t" anchorCtr="0">
            <a:spAutoFit/>
          </a:bodyPr>
          <a:lstStyle>
            <a:lvl1pPr>
              <a:defRPr sz="7199" spc="-100"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9" y="4881266"/>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6" name="Rectangle 5"/>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20308331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82" indent="0">
              <a:buNone/>
              <a:defRPr/>
            </a:lvl3pPr>
            <a:lvl4pPr marL="457163" indent="0">
              <a:buNone/>
              <a:defRPr/>
            </a:lvl4pPr>
            <a:lvl5pPr marL="685745"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86098637"/>
      </p:ext>
    </p:extLst>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9" y="2125663"/>
            <a:ext cx="10056812" cy="1181862"/>
          </a:xfrm>
          <a:noFill/>
        </p:spPr>
        <p:txBody>
          <a:bodyPr tIns="91440" bIns="91440" anchor="t" anchorCtr="0">
            <a:spAutoFit/>
          </a:bodyPr>
          <a:lstStyle>
            <a:lvl1pPr>
              <a:defRPr lang="en-US" sz="7199"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
        <p:nvSpPr>
          <p:cNvPr id="4" name="Rectangle 3"/>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14763828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701381179"/>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497925911"/>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394449875"/>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187307889"/>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673374560"/>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099182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83968648"/>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84846264"/>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2807338"/>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buClr>
                <a:schemeClr val="tx2"/>
              </a:buClr>
              <a:defRPr sz="4000">
                <a:gradFill>
                  <a:gsLst>
                    <a:gs pos="7080">
                      <a:schemeClr val="tx2"/>
                    </a:gs>
                    <a:gs pos="36283">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703268474"/>
      </p:ext>
    </p:extLst>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398" fontAlgn="base">
              <a:spcBef>
                <a:spcPct val="0"/>
              </a:spcBef>
              <a:spcAft>
                <a:spcPct val="0"/>
              </a:spcAft>
            </a:pPr>
            <a:endParaRPr lang="en-US" sz="225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9" y="1221158"/>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56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9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1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40721089"/>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2" y="0"/>
            <a:ext cx="12435840" cy="6995160"/>
          </a:xfrm>
          <a:prstGeom prst="rect">
            <a:avLst/>
          </a:prstGeom>
        </p:spPr>
      </p:pic>
      <p:sp>
        <p:nvSpPr>
          <p:cNvPr id="6" name="Rectangle 5"/>
          <p:cNvSpPr/>
          <p:nvPr userDrawn="1"/>
        </p:nvSpPr>
        <p:spPr bwMode="gray">
          <a:xfrm>
            <a:off x="0" y="4868863"/>
            <a:ext cx="12436475" cy="2125662"/>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2" name="Text Box 3"/>
          <p:cNvSpPr txBox="1">
            <a:spLocks noChangeArrowheads="1"/>
          </p:cNvSpPr>
          <p:nvPr userDrawn="1"/>
        </p:nvSpPr>
        <p:spPr bwMode="white">
          <a:xfrm>
            <a:off x="7589822" y="6294476"/>
            <a:ext cx="45719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algn="r" defTabSz="932215" eaLnBrk="0" hangingPunct="0"/>
            <a:r>
              <a:rPr lang="en-US" sz="700" dirty="0">
                <a:gradFill>
                  <a:gsLst>
                    <a:gs pos="12389">
                      <a:srgbClr val="FFFFFF"/>
                    </a:gs>
                    <a:gs pos="54000">
                      <a:srgbClr val="FFFFFF"/>
                    </a:gs>
                  </a:gsLst>
                  <a:lin ang="5400000" scaled="0"/>
                </a:gradFill>
                <a:cs typeface="Segoe UI" pitchFamily="34" charset="0"/>
              </a:rPr>
              <a:t>© </a:t>
            </a:r>
            <a:r>
              <a:rPr lang="en-US" sz="700" dirty="0" smtClean="0">
                <a:gradFill>
                  <a:gsLst>
                    <a:gs pos="12389">
                      <a:srgbClr val="FFFFFF"/>
                    </a:gs>
                    <a:gs pos="54000">
                      <a:srgbClr val="FFFFFF"/>
                    </a:gs>
                  </a:gsLst>
                  <a:lin ang="5400000" scaled="0"/>
                </a:gradFill>
                <a:cs typeface="Segoe UI" pitchFamily="34" charset="0"/>
              </a:rPr>
              <a:t>2015 </a:t>
            </a:r>
            <a:r>
              <a:rPr lang="en-US" sz="700" dirty="0">
                <a:gradFill>
                  <a:gsLst>
                    <a:gs pos="12389">
                      <a:srgbClr val="FFFFFF"/>
                    </a:gs>
                    <a:gs pos="54000">
                      <a:srgbClr val="FFFFFF"/>
                    </a:gs>
                  </a:gsLst>
                  <a:lin ang="5400000" scaled="0"/>
                </a:gradFill>
                <a:cs typeface="Segoe UI" pitchFamily="34" charset="0"/>
              </a:rPr>
              <a:t>Microsoft Corporation. All rights reserved. </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59230" y="5580859"/>
            <a:ext cx="3291840" cy="701671"/>
          </a:xfrm>
          <a:prstGeom prst="rect">
            <a:avLst/>
          </a:prstGeom>
        </p:spPr>
      </p:pic>
    </p:spTree>
    <p:extLst>
      <p:ext uri="{BB962C8B-B14F-4D97-AF65-F5344CB8AC3E}">
        <p14:creationId xmlns:p14="http://schemas.microsoft.com/office/powerpoint/2010/main" val="2939499383"/>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490" indent="-290490">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454" indent="-280966">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944" indent="-290490">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526" indent="-228582">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107" indent="-228582">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4235043397"/>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61503997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8_Title and Conten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4571139"/>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55008" y="6482889"/>
            <a:ext cx="2798207" cy="372394"/>
          </a:xfrm>
          <a:prstGeom prst="rect">
            <a:avLst/>
          </a:prstGeom>
        </p:spPr>
        <p:txBody>
          <a:bodyPr/>
          <a:lstStyle/>
          <a:p>
            <a:fld id="{E55666E8-FDE9-4533-81BF-06B0BD5C7943}" type="datetimeFigureOut">
              <a:rPr lang="en-US" smtClean="0">
                <a:solidFill>
                  <a:srgbClr val="FFFFFF"/>
                </a:solidFill>
              </a:rPr>
              <a:pPr/>
              <a:t>5/6/2015</a:t>
            </a:fld>
            <a:endParaRPr lang="en-US">
              <a:solidFill>
                <a:srgbClr val="FFFFFF"/>
              </a:solidFill>
            </a:endParaRPr>
          </a:p>
        </p:txBody>
      </p:sp>
      <p:sp>
        <p:nvSpPr>
          <p:cNvPr id="3" name="Footer Placeholder 2"/>
          <p:cNvSpPr>
            <a:spLocks noGrp="1"/>
          </p:cNvSpPr>
          <p:nvPr>
            <p:ph type="ftr" sz="quarter" idx="11"/>
          </p:nvPr>
        </p:nvSpPr>
        <p:spPr>
          <a:xfrm>
            <a:off x="4119583" y="6482889"/>
            <a:ext cx="4197310" cy="372394"/>
          </a:xfrm>
          <a:prstGeom prst="rect">
            <a:avLst/>
          </a:prstGeom>
        </p:spPr>
        <p:txBody>
          <a:bodyPr/>
          <a:lstStyle/>
          <a:p>
            <a:endParaRPr lang="en-US">
              <a:solidFill>
                <a:srgbClr val="FFFFFF"/>
              </a:solidFill>
            </a:endParaRPr>
          </a:p>
        </p:txBody>
      </p:sp>
      <p:sp>
        <p:nvSpPr>
          <p:cNvPr id="4" name="Slide Number Placeholder 3"/>
          <p:cNvSpPr>
            <a:spLocks noGrp="1"/>
          </p:cNvSpPr>
          <p:nvPr>
            <p:ph type="sldNum" sz="quarter" idx="12"/>
          </p:nvPr>
        </p:nvSpPr>
        <p:spPr>
          <a:xfrm>
            <a:off x="8783260" y="6482889"/>
            <a:ext cx="2798207" cy="372394"/>
          </a:xfrm>
          <a:prstGeom prst="rect">
            <a:avLst/>
          </a:prstGeom>
        </p:spPr>
        <p:txBody>
          <a:bodyPr/>
          <a:lstStyle/>
          <a:p>
            <a:fld id="{8E1D6CD9-7C5F-4294-B842-669D214FBF7D}" type="slidenum">
              <a:rPr lang="en-US" smtClean="0">
                <a:solidFill>
                  <a:srgbClr val="FFFFFF"/>
                </a:solidFill>
              </a:rPr>
              <a:pPr/>
              <a:t>‹#›</a:t>
            </a:fld>
            <a:endParaRPr lang="en-US">
              <a:solidFill>
                <a:srgbClr val="FFFFFF"/>
              </a:solidFill>
            </a:endParaRPr>
          </a:p>
        </p:txBody>
      </p:sp>
    </p:spTree>
    <p:extLst>
      <p:ext uri="{BB962C8B-B14F-4D97-AF65-F5344CB8AC3E}">
        <p14:creationId xmlns:p14="http://schemas.microsoft.com/office/powerpoint/2010/main" val="71531749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16" name="Title 1"/>
          <p:cNvSpPr>
            <a:spLocks noGrp="1"/>
          </p:cNvSpPr>
          <p:nvPr>
            <p:ph type="title"/>
          </p:nvPr>
        </p:nvSpPr>
        <p:spPr>
          <a:xfrm>
            <a:off x="310139" y="77346"/>
            <a:ext cx="11255765" cy="928140"/>
          </a:xfrm>
        </p:spPr>
        <p:txBody>
          <a:bodyPr lIns="0">
            <a:normAutofit/>
          </a:bodyPr>
          <a:lstStyle>
            <a:lvl1pPr algn="l">
              <a:defRPr sz="2856"/>
            </a:lvl1pPr>
          </a:lstStyle>
          <a:p>
            <a:r>
              <a:rPr lang="en-US" dirty="0" smtClean="0"/>
              <a:t>Click to edit Master title style</a:t>
            </a:r>
            <a:endParaRPr lang="en-US" dirty="0"/>
          </a:p>
        </p:txBody>
      </p:sp>
    </p:spTree>
    <p:extLst>
      <p:ext uri="{BB962C8B-B14F-4D97-AF65-F5344CB8AC3E}">
        <p14:creationId xmlns:p14="http://schemas.microsoft.com/office/powerpoint/2010/main" val="3909496158"/>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0" y="2613232"/>
            <a:ext cx="12436475" cy="1962353"/>
          </a:xfrm>
          <a:effectLst/>
        </p:spPr>
        <p:txBody>
          <a:bodyPr anchor="b" anchorCtr="1">
            <a:normAutofit/>
          </a:bodyPr>
          <a:lstStyle>
            <a:lvl1pPr algn="l">
              <a:lnSpc>
                <a:spcPts val="4601"/>
              </a:lnSpc>
              <a:defRPr kumimoji="0" lang="en-US" sz="4601" b="0" i="0" u="none" strike="noStrike" kern="1200" cap="none" spc="-230" normalizeH="0" baseline="0" noProof="0" dirty="0">
                <a:ln>
                  <a:noFill/>
                </a:ln>
                <a:solidFill>
                  <a:srgbClr val="00B9F2"/>
                </a:solidFill>
                <a:effectLst/>
                <a:uLnTx/>
                <a:uFillTx/>
                <a:latin typeface="Segoe UI" pitchFamily="34" charset="0"/>
                <a:ea typeface="Segoe UI" pitchFamily="34" charset="0"/>
                <a:cs typeface="Segoe UI" pitchFamily="34" charset="0"/>
              </a:defRPr>
            </a:lvl1pPr>
          </a:lstStyle>
          <a:p>
            <a:pPr marL="0" marR="0" lvl="0" indent="0" algn="ctr" defTabSz="701219" rtl="0" eaLnBrk="1" fontAlgn="auto" latinLnBrk="0" hangingPunct="1">
              <a:lnSpc>
                <a:spcPct val="100000"/>
              </a:lnSpc>
              <a:spcBef>
                <a:spcPct val="0"/>
              </a:spcBef>
              <a:spcAft>
                <a:spcPts val="0"/>
              </a:spcAft>
              <a:buClrTx/>
              <a:buSzTx/>
              <a:buFontTx/>
              <a:buNone/>
              <a:tabLst/>
              <a:defRPr/>
            </a:pPr>
            <a:r>
              <a:rPr lang="en-US" smtClean="0"/>
              <a:t>Click to edit Master title style</a:t>
            </a:r>
            <a:endParaRPr lang="en-US" dirty="0"/>
          </a:p>
        </p:txBody>
      </p:sp>
      <p:sp>
        <p:nvSpPr>
          <p:cNvPr id="3" name="Subtitle 2"/>
          <p:cNvSpPr>
            <a:spLocks noGrp="1"/>
          </p:cNvSpPr>
          <p:nvPr>
            <p:ph type="subTitle" idx="1" hasCustomPrompt="1"/>
          </p:nvPr>
        </p:nvSpPr>
        <p:spPr>
          <a:xfrm>
            <a:off x="626613" y="5756480"/>
            <a:ext cx="9769232" cy="375633"/>
          </a:xfrm>
        </p:spPr>
        <p:txBody>
          <a:bodyPr lIns="0">
            <a:noAutofit/>
          </a:bodyPr>
          <a:lstStyle>
            <a:lvl1pPr marL="0" indent="0" algn="l">
              <a:buNone/>
              <a:defRPr sz="1534" b="1" cap="none" spc="0" baseline="0">
                <a:solidFill>
                  <a:schemeClr val="tx1">
                    <a:lumMod val="75000"/>
                    <a:lumOff val="25000"/>
                  </a:schemeClr>
                </a:solidFill>
                <a:latin typeface="Segoe UI" pitchFamily="34" charset="0"/>
                <a:ea typeface="Segoe UI" pitchFamily="34" charset="0"/>
                <a:cs typeface="Segoe UI" pitchFamily="34" charset="0"/>
              </a:defRPr>
            </a:lvl1pPr>
            <a:lvl2pPr marL="350610" indent="0" algn="ctr">
              <a:buNone/>
              <a:defRPr>
                <a:solidFill>
                  <a:schemeClr val="tx1">
                    <a:tint val="75000"/>
                  </a:schemeClr>
                </a:solidFill>
              </a:defRPr>
            </a:lvl2pPr>
            <a:lvl3pPr marL="701219" indent="0" algn="ctr">
              <a:buNone/>
              <a:defRPr>
                <a:solidFill>
                  <a:schemeClr val="tx1">
                    <a:tint val="75000"/>
                  </a:schemeClr>
                </a:solidFill>
              </a:defRPr>
            </a:lvl3pPr>
            <a:lvl4pPr marL="1051829" indent="0" algn="ctr">
              <a:buNone/>
              <a:defRPr>
                <a:solidFill>
                  <a:schemeClr val="tx1">
                    <a:tint val="75000"/>
                  </a:schemeClr>
                </a:solidFill>
              </a:defRPr>
            </a:lvl4pPr>
            <a:lvl5pPr marL="1402439" indent="0" algn="ctr">
              <a:buNone/>
              <a:defRPr>
                <a:solidFill>
                  <a:schemeClr val="tx1">
                    <a:tint val="75000"/>
                  </a:schemeClr>
                </a:solidFill>
              </a:defRPr>
            </a:lvl5pPr>
            <a:lvl6pPr marL="1753048" indent="0" algn="ctr">
              <a:buNone/>
              <a:defRPr>
                <a:solidFill>
                  <a:schemeClr val="tx1">
                    <a:tint val="75000"/>
                  </a:schemeClr>
                </a:solidFill>
              </a:defRPr>
            </a:lvl6pPr>
            <a:lvl7pPr marL="2103658" indent="0" algn="ctr">
              <a:buNone/>
              <a:defRPr>
                <a:solidFill>
                  <a:schemeClr val="tx1">
                    <a:tint val="75000"/>
                  </a:schemeClr>
                </a:solidFill>
              </a:defRPr>
            </a:lvl7pPr>
            <a:lvl8pPr marL="2454268" indent="0" algn="ctr">
              <a:buNone/>
              <a:defRPr>
                <a:solidFill>
                  <a:schemeClr val="tx1">
                    <a:tint val="75000"/>
                  </a:schemeClr>
                </a:solidFill>
              </a:defRPr>
            </a:lvl8pPr>
            <a:lvl9pPr marL="2804877" indent="0" algn="ctr">
              <a:buNone/>
              <a:defRPr>
                <a:solidFill>
                  <a:schemeClr val="tx1">
                    <a:tint val="75000"/>
                  </a:schemeClr>
                </a:solidFill>
              </a:defRPr>
            </a:lvl9pPr>
          </a:lstStyle>
          <a:p>
            <a:r>
              <a:rPr lang="en-US" dirty="0" smtClean="0"/>
              <a:t>CLICK TO EDIT MASTER SUBTITLE STYLE</a:t>
            </a:r>
            <a:endParaRPr lang="en-US" dirty="0"/>
          </a:p>
        </p:txBody>
      </p:sp>
    </p:spTree>
    <p:extLst>
      <p:ext uri="{BB962C8B-B14F-4D97-AF65-F5344CB8AC3E}">
        <p14:creationId xmlns:p14="http://schemas.microsoft.com/office/powerpoint/2010/main" val="3191245525"/>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ivider slide">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2" cstate="print">
            <a:extLst/>
          </a:blip>
          <a:srcRect/>
          <a:stretch>
            <a:fillRect/>
          </a:stretch>
        </p:blipFill>
        <p:spPr bwMode="auto">
          <a:xfrm>
            <a:off x="0" y="0"/>
            <a:ext cx="12436475" cy="6994525"/>
          </a:xfrm>
          <a:prstGeom prst="rect">
            <a:avLst/>
          </a:prstGeom>
          <a:extLst/>
        </p:spPr>
      </p:pic>
      <p:sp>
        <p:nvSpPr>
          <p:cNvPr id="2" name="Title 1"/>
          <p:cNvSpPr>
            <a:spLocks noGrp="1"/>
          </p:cNvSpPr>
          <p:nvPr>
            <p:ph type="ctrTitle"/>
          </p:nvPr>
        </p:nvSpPr>
        <p:spPr>
          <a:xfrm>
            <a:off x="0" y="2613232"/>
            <a:ext cx="12436475" cy="1962353"/>
          </a:xfrm>
        </p:spPr>
        <p:txBody>
          <a:bodyPr anchor="b" anchorCtr="1">
            <a:normAutofit/>
          </a:bodyPr>
          <a:lstStyle>
            <a:lvl1pPr algn="l">
              <a:lnSpc>
                <a:spcPts val="4601"/>
              </a:lnSpc>
              <a:defRPr kumimoji="0" lang="en-US" sz="4601" b="0" i="0" u="none" strike="noStrike" kern="1200" cap="none" spc="-230" normalizeH="0" baseline="0" noProof="0" dirty="0">
                <a:ln>
                  <a:noFill/>
                </a:ln>
                <a:solidFill>
                  <a:schemeClr val="bg1"/>
                </a:solidFill>
                <a:effectLst/>
                <a:uLnTx/>
                <a:uFillTx/>
                <a:latin typeface="Segoe UI" pitchFamily="34" charset="0"/>
                <a:ea typeface="Segoe UI" pitchFamily="34" charset="0"/>
                <a:cs typeface="Segoe UI" pitchFamily="34" charset="0"/>
              </a:defRPr>
            </a:lvl1pPr>
          </a:lstStyle>
          <a:p>
            <a:pPr marL="0" marR="0" lvl="0" indent="0" algn="ctr" defTabSz="701219" rtl="0" eaLnBrk="1" fontAlgn="auto" latinLnBrk="0" hangingPunct="1">
              <a:lnSpc>
                <a:spcPct val="100000"/>
              </a:lnSpc>
              <a:spcBef>
                <a:spcPct val="0"/>
              </a:spcBef>
              <a:spcAft>
                <a:spcPts val="0"/>
              </a:spcAft>
              <a:buClrTx/>
              <a:buSzTx/>
              <a:buFontTx/>
              <a:buNone/>
              <a:tabLst/>
              <a:defRPr/>
            </a:pPr>
            <a:r>
              <a:rPr lang="en-US" smtClean="0"/>
              <a:t>Click to edit Master title style</a:t>
            </a:r>
            <a:endParaRPr lang="en-US" dirty="0"/>
          </a:p>
        </p:txBody>
      </p:sp>
    </p:spTree>
    <p:extLst>
      <p:ext uri="{BB962C8B-B14F-4D97-AF65-F5344CB8AC3E}">
        <p14:creationId xmlns:p14="http://schemas.microsoft.com/office/powerpoint/2010/main" val="3788516847"/>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4" name="Footer Placeholder 10"/>
          <p:cNvSpPr>
            <a:spLocks noGrp="1"/>
          </p:cNvSpPr>
          <p:nvPr>
            <p:ph type="ftr" sz="quarter" idx="17"/>
          </p:nvPr>
        </p:nvSpPr>
        <p:spPr>
          <a:xfrm>
            <a:off x="571953" y="6605940"/>
            <a:ext cx="1850618" cy="131134"/>
          </a:xfrm>
          <a:prstGeom prst="rect">
            <a:avLst/>
          </a:prstGeom>
        </p:spPr>
        <p:txBody>
          <a:bodyPr/>
          <a:lstStyle/>
          <a:p>
            <a:r>
              <a:rPr lang="en-US" smtClean="0"/>
              <a:t>Microsoft Confidential</a:t>
            </a:r>
            <a:endParaRPr lang="en-US"/>
          </a:p>
        </p:txBody>
      </p:sp>
      <p:sp>
        <p:nvSpPr>
          <p:cNvPr id="5" name="Title 1"/>
          <p:cNvSpPr>
            <a:spLocks noGrp="1"/>
          </p:cNvSpPr>
          <p:nvPr>
            <p:ph type="title"/>
          </p:nvPr>
        </p:nvSpPr>
        <p:spPr>
          <a:xfrm>
            <a:off x="571953" y="0"/>
            <a:ext cx="10476074" cy="1165754"/>
          </a:xfrm>
        </p:spPr>
        <p:txBody>
          <a:bodyPr/>
          <a:lstStyle/>
          <a:p>
            <a:r>
              <a:rPr lang="en-US" smtClean="0"/>
              <a:t>Click to edit Master title style</a:t>
            </a:r>
            <a:endParaRPr lang="en-US" dirty="0"/>
          </a:p>
        </p:txBody>
      </p:sp>
    </p:spTree>
    <p:extLst>
      <p:ext uri="{BB962C8B-B14F-4D97-AF65-F5344CB8AC3E}">
        <p14:creationId xmlns:p14="http://schemas.microsoft.com/office/powerpoint/2010/main" val="1523189174"/>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defRPr sz="40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8131149"/>
      </p:ext>
    </p:extLst>
  </p:cSld>
  <p:clrMapOvr>
    <a:masterClrMapping/>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Full bleed picture with title (top)">
    <p:spTree>
      <p:nvGrpSpPr>
        <p:cNvPr id="1" name=""/>
        <p:cNvGrpSpPr/>
        <p:nvPr/>
      </p:nvGrpSpPr>
      <p:grpSpPr>
        <a:xfrm>
          <a:off x="0" y="0"/>
          <a:ext cx="0" cy="0"/>
          <a:chOff x="0" y="0"/>
          <a:chExt cx="0" cy="0"/>
        </a:xfrm>
      </p:grpSpPr>
      <p:sp>
        <p:nvSpPr>
          <p:cNvPr id="18" name="Title 17"/>
          <p:cNvSpPr>
            <a:spLocks noGrp="1"/>
          </p:cNvSpPr>
          <p:nvPr>
            <p:ph type="title"/>
          </p:nvPr>
        </p:nvSpPr>
        <p:spPr>
          <a:xfrm>
            <a:off x="0" y="1"/>
            <a:ext cx="12436475" cy="1419952"/>
          </a:xfrm>
          <a:solidFill>
            <a:srgbClr val="00B0F0"/>
          </a:solidFill>
        </p:spPr>
        <p:txBody>
          <a:bodyPr lIns="182880"/>
          <a:lstStyle>
            <a:lvl1pPr marL="315549">
              <a:defRPr>
                <a:solidFill>
                  <a:schemeClr val="bg1"/>
                </a:solidFill>
              </a:defRPr>
            </a:lvl1pPr>
          </a:lstStyle>
          <a:p>
            <a:r>
              <a:rPr lang="en-US" smtClean="0"/>
              <a:t>Click to edit Master title style</a:t>
            </a:r>
            <a:endParaRPr lang="en-US" dirty="0"/>
          </a:p>
        </p:txBody>
      </p:sp>
      <p:sp>
        <p:nvSpPr>
          <p:cNvPr id="4" name="Footer Placeholder 10"/>
          <p:cNvSpPr>
            <a:spLocks noGrp="1"/>
          </p:cNvSpPr>
          <p:nvPr>
            <p:ph type="ftr" sz="quarter" idx="17"/>
          </p:nvPr>
        </p:nvSpPr>
        <p:spPr>
          <a:xfrm>
            <a:off x="571953" y="6605940"/>
            <a:ext cx="1850618" cy="131134"/>
          </a:xfrm>
          <a:prstGeom prst="rect">
            <a:avLst/>
          </a:prstGeom>
        </p:spPr>
        <p:txBody>
          <a:bodyPr/>
          <a:lstStyle/>
          <a:p>
            <a:r>
              <a:rPr lang="en-US" smtClean="0"/>
              <a:t>Microsoft Confidential</a:t>
            </a:r>
            <a:endParaRPr lang="en-US"/>
          </a:p>
        </p:txBody>
      </p:sp>
    </p:spTree>
    <p:extLst>
      <p:ext uri="{BB962C8B-B14F-4D97-AF65-F5344CB8AC3E}">
        <p14:creationId xmlns:p14="http://schemas.microsoft.com/office/powerpoint/2010/main" val="2168006363"/>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Full bleed picture with title (bottom)">
    <p:spTree>
      <p:nvGrpSpPr>
        <p:cNvPr id="1" name=""/>
        <p:cNvGrpSpPr/>
        <p:nvPr/>
      </p:nvGrpSpPr>
      <p:grpSpPr>
        <a:xfrm>
          <a:off x="0" y="0"/>
          <a:ext cx="0" cy="0"/>
          <a:chOff x="0" y="0"/>
          <a:chExt cx="0" cy="0"/>
        </a:xfrm>
      </p:grpSpPr>
      <p:sp>
        <p:nvSpPr>
          <p:cNvPr id="18" name="Title 17"/>
          <p:cNvSpPr>
            <a:spLocks noGrp="1"/>
          </p:cNvSpPr>
          <p:nvPr>
            <p:ph type="title"/>
          </p:nvPr>
        </p:nvSpPr>
        <p:spPr>
          <a:xfrm>
            <a:off x="0" y="5574573"/>
            <a:ext cx="12436475" cy="1419952"/>
          </a:xfrm>
          <a:solidFill>
            <a:srgbClr val="00B0F0"/>
          </a:solidFill>
        </p:spPr>
        <p:txBody>
          <a:bodyPr lIns="182880" tIns="228600" anchor="t" anchorCtr="0"/>
          <a:lstStyle>
            <a:lvl1pPr marL="315549">
              <a:spcAft>
                <a:spcPts val="1841"/>
              </a:spcAft>
              <a:defRPr>
                <a:solidFill>
                  <a:schemeClr val="bg1"/>
                </a:solidFill>
              </a:defRPr>
            </a:lvl1pPr>
          </a:lstStyle>
          <a:p>
            <a:r>
              <a:rPr lang="en-US" smtClean="0"/>
              <a:t>Click to edit Master title style</a:t>
            </a:r>
            <a:endParaRPr lang="en-US" dirty="0"/>
          </a:p>
        </p:txBody>
      </p:sp>
      <p:sp>
        <p:nvSpPr>
          <p:cNvPr id="4" name="Footer Placeholder 10"/>
          <p:cNvSpPr>
            <a:spLocks noGrp="1"/>
          </p:cNvSpPr>
          <p:nvPr>
            <p:ph type="ftr" sz="quarter" idx="17"/>
          </p:nvPr>
        </p:nvSpPr>
        <p:spPr>
          <a:xfrm>
            <a:off x="571953" y="6605940"/>
            <a:ext cx="1850618" cy="131134"/>
          </a:xfrm>
          <a:prstGeom prst="rect">
            <a:avLst/>
          </a:prstGeom>
        </p:spPr>
        <p:txBody>
          <a:bodyPr/>
          <a:lstStyle>
            <a:lvl1pPr>
              <a:defRPr>
                <a:solidFill>
                  <a:schemeClr val="bg1"/>
                </a:solidFill>
              </a:defRPr>
            </a:lvl1pPr>
          </a:lstStyle>
          <a:p>
            <a:r>
              <a:rPr lang="en-US" smtClean="0">
                <a:solidFill>
                  <a:prstClr val="white"/>
                </a:solidFill>
              </a:rPr>
              <a:t>Microsoft Confidential</a:t>
            </a:r>
            <a:endParaRPr lang="en-US">
              <a:solidFill>
                <a:prstClr val="white"/>
              </a:solidFill>
            </a:endParaRPr>
          </a:p>
        </p:txBody>
      </p:sp>
    </p:spTree>
    <p:extLst>
      <p:ext uri="{BB962C8B-B14F-4D97-AF65-F5344CB8AC3E}">
        <p14:creationId xmlns:p14="http://schemas.microsoft.com/office/powerpoint/2010/main" val="3140038553"/>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0" name="Rectangle 19"/>
          <p:cNvSpPr/>
          <p:nvPr/>
        </p:nvSpPr>
        <p:spPr>
          <a:xfrm>
            <a:off x="-812" y="0"/>
            <a:ext cx="12436475" cy="6994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380">
              <a:solidFill>
                <a:prstClr val="white"/>
              </a:solidFill>
            </a:endParaRPr>
          </a:p>
        </p:txBody>
      </p:sp>
      <p:grpSp>
        <p:nvGrpSpPr>
          <p:cNvPr id="22" name="Group 21"/>
          <p:cNvGrpSpPr/>
          <p:nvPr/>
        </p:nvGrpSpPr>
        <p:grpSpPr>
          <a:xfrm>
            <a:off x="-15421" y="0"/>
            <a:ext cx="12451897" cy="6994525"/>
            <a:chOff x="-11340" y="0"/>
            <a:chExt cx="9155340" cy="6858000"/>
          </a:xfrm>
        </p:grpSpPr>
        <p:sp>
          <p:nvSpPr>
            <p:cNvPr id="23" name="Rectangle 22"/>
            <p:cNvSpPr/>
            <p:nvPr/>
          </p:nvSpPr>
          <p:spPr>
            <a:xfrm>
              <a:off x="0" y="0"/>
              <a:ext cx="9144000" cy="6858000"/>
            </a:xfrm>
            <a:prstGeom prst="rect">
              <a:avLst/>
            </a:prstGeom>
            <a:gradFill flip="none" rotWithShape="1">
              <a:gsLst>
                <a:gs pos="0">
                  <a:schemeClr val="bg1">
                    <a:alpha val="0"/>
                  </a:schemeClr>
                </a:gs>
                <a:gs pos="63000">
                  <a:schemeClr val="bg1">
                    <a:alpha val="0"/>
                  </a:schemeClr>
                </a:gs>
                <a:gs pos="82000">
                  <a:schemeClr val="bg1">
                    <a:lumMod val="95000"/>
                    <a:alpha val="50000"/>
                  </a:schemeClr>
                </a:gs>
                <a:gs pos="100000">
                  <a:srgbClr val="E2E2E2">
                    <a:alpha val="50000"/>
                  </a:srgbClr>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380">
                <a:solidFill>
                  <a:prstClr val="white"/>
                </a:solidFill>
              </a:endParaRPr>
            </a:p>
          </p:txBody>
        </p:sp>
        <p:grpSp>
          <p:nvGrpSpPr>
            <p:cNvPr id="24" name="Group 8"/>
            <p:cNvGrpSpPr/>
            <p:nvPr/>
          </p:nvGrpSpPr>
          <p:grpSpPr>
            <a:xfrm>
              <a:off x="-11340" y="0"/>
              <a:ext cx="9155340" cy="6858000"/>
              <a:chOff x="-11340" y="0"/>
              <a:chExt cx="9155340" cy="6858000"/>
            </a:xfrm>
          </p:grpSpPr>
          <p:sp>
            <p:nvSpPr>
              <p:cNvPr id="25" name="Rectangle 24"/>
              <p:cNvSpPr/>
              <p:nvPr/>
            </p:nvSpPr>
            <p:spPr>
              <a:xfrm>
                <a:off x="-11340" y="0"/>
                <a:ext cx="9144001" cy="6858000"/>
              </a:xfrm>
              <a:prstGeom prst="rect">
                <a:avLst/>
              </a:prstGeom>
              <a:gradFill flip="none" rotWithShape="1">
                <a:gsLst>
                  <a:gs pos="0">
                    <a:schemeClr val="bg1">
                      <a:alpha val="0"/>
                    </a:schemeClr>
                  </a:gs>
                  <a:gs pos="63000">
                    <a:schemeClr val="bg1">
                      <a:alpha val="0"/>
                    </a:schemeClr>
                  </a:gs>
                  <a:gs pos="82000">
                    <a:schemeClr val="bg1">
                      <a:lumMod val="95000"/>
                      <a:alpha val="50000"/>
                    </a:schemeClr>
                  </a:gs>
                  <a:gs pos="100000">
                    <a:srgbClr val="E2E2E2">
                      <a:alpha val="50000"/>
                    </a:srgb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380">
                  <a:solidFill>
                    <a:prstClr val="white"/>
                  </a:solidFill>
                </a:endParaRPr>
              </a:p>
            </p:txBody>
          </p:sp>
          <p:sp>
            <p:nvSpPr>
              <p:cNvPr id="26" name="Rectangle 25"/>
              <p:cNvSpPr/>
              <p:nvPr/>
            </p:nvSpPr>
            <p:spPr>
              <a:xfrm>
                <a:off x="0" y="3581400"/>
                <a:ext cx="9144000" cy="3276600"/>
              </a:xfrm>
              <a:prstGeom prst="rect">
                <a:avLst/>
              </a:prstGeom>
              <a:gradFill flip="none" rotWithShape="1">
                <a:gsLst>
                  <a:gs pos="0">
                    <a:schemeClr val="bg1">
                      <a:alpha val="0"/>
                    </a:schemeClr>
                  </a:gs>
                  <a:gs pos="100000">
                    <a:schemeClr val="bg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380">
                  <a:solidFill>
                    <a:prstClr val="white"/>
                  </a:solidFill>
                </a:endParaRPr>
              </a:p>
            </p:txBody>
          </p:sp>
        </p:grpSp>
      </p:grpSp>
      <p:sp>
        <p:nvSpPr>
          <p:cNvPr id="9" name="Footer Placeholder 10"/>
          <p:cNvSpPr>
            <a:spLocks noGrp="1"/>
          </p:cNvSpPr>
          <p:nvPr>
            <p:ph type="ftr" sz="quarter" idx="17"/>
          </p:nvPr>
        </p:nvSpPr>
        <p:spPr>
          <a:xfrm>
            <a:off x="571953" y="6605940"/>
            <a:ext cx="1850618" cy="131134"/>
          </a:xfrm>
          <a:prstGeom prst="rect">
            <a:avLst/>
          </a:prstGeom>
        </p:spPr>
        <p:txBody>
          <a:bodyPr/>
          <a:lstStyle/>
          <a:p>
            <a:r>
              <a:rPr lang="en-US" smtClean="0"/>
              <a:t>Microsoft Confidential</a:t>
            </a:r>
            <a:endParaRPr lang="en-US"/>
          </a:p>
        </p:txBody>
      </p:sp>
    </p:spTree>
    <p:extLst>
      <p:ext uri="{BB962C8B-B14F-4D97-AF65-F5344CB8AC3E}">
        <p14:creationId xmlns:p14="http://schemas.microsoft.com/office/powerpoint/2010/main" val="1641946879"/>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573251" y="1476622"/>
            <a:ext cx="10476074" cy="5051601"/>
          </a:xfrm>
        </p:spPr>
        <p:txBody>
          <a:bodyPr/>
          <a:lstStyle>
            <a:lvl1pPr marL="262958" indent="-262958">
              <a:buFont typeface="Wingdings" panose="05000000000000000000" pitchFamily="2" charset="2"/>
              <a:buChar char="§"/>
              <a:defRPr/>
            </a:lvl1pPr>
            <a:lvl2pPr marL="569741" indent="-219131">
              <a:buFont typeface="Courier New" panose="02070309020205020404" pitchFamily="49" charset="0"/>
              <a:buChar char="o"/>
              <a:defRPr/>
            </a:lvl2pPr>
            <a:lvl3pPr marL="876524" indent="-175304">
              <a:buFont typeface="Arial" panose="020B0604020202020204" pitchFamily="34" charset="0"/>
              <a:buChar char="•"/>
              <a:defRPr/>
            </a:lvl3pPr>
            <a:lvl4pPr marL="1227133" indent="-175304">
              <a:buFont typeface="Segoe UI" panose="020B0502040204020203" pitchFamily="34" charset="0"/>
              <a:buChar char="–"/>
              <a:defRPr/>
            </a:lvl4pPr>
            <a:lvl5pPr marL="1577743" indent="-175304">
              <a:buFont typeface="Wingdings" panose="05000000000000000000" pitchFamily="2" charset="2"/>
              <a:buChar char="q"/>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7" name="Footer Placeholder 10"/>
          <p:cNvSpPr>
            <a:spLocks noGrp="1"/>
          </p:cNvSpPr>
          <p:nvPr>
            <p:ph type="ftr" sz="quarter" idx="17"/>
          </p:nvPr>
        </p:nvSpPr>
        <p:spPr>
          <a:xfrm>
            <a:off x="571953" y="6605940"/>
            <a:ext cx="1850618" cy="131134"/>
          </a:xfrm>
          <a:prstGeom prst="rect">
            <a:avLst/>
          </a:prstGeom>
        </p:spPr>
        <p:txBody>
          <a:bodyPr/>
          <a:lstStyle/>
          <a:p>
            <a:r>
              <a:rPr lang="en-US" smtClean="0"/>
              <a:t>Microsoft Confidential</a:t>
            </a:r>
            <a:endParaRPr lang="en-US"/>
          </a:p>
        </p:txBody>
      </p:sp>
      <p:sp>
        <p:nvSpPr>
          <p:cNvPr id="9" name="Title 1"/>
          <p:cNvSpPr>
            <a:spLocks noGrp="1"/>
          </p:cNvSpPr>
          <p:nvPr>
            <p:ph type="title"/>
          </p:nvPr>
        </p:nvSpPr>
        <p:spPr>
          <a:xfrm>
            <a:off x="571953" y="0"/>
            <a:ext cx="10476074" cy="1165754"/>
          </a:xfrm>
        </p:spPr>
        <p:txBody>
          <a:bodyPr/>
          <a:lstStyle/>
          <a:p>
            <a:r>
              <a:rPr lang="en-US" smtClean="0"/>
              <a:t>Click to edit Master title style</a:t>
            </a:r>
            <a:endParaRPr lang="en-US" dirty="0"/>
          </a:p>
        </p:txBody>
      </p:sp>
    </p:spTree>
    <p:extLst>
      <p:ext uri="{BB962C8B-B14F-4D97-AF65-F5344CB8AC3E}">
        <p14:creationId xmlns:p14="http://schemas.microsoft.com/office/powerpoint/2010/main" val="1271802476"/>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9" y="1212852"/>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1500"/>
            </a:lvl2pPr>
            <a:lvl3pPr marL="171418" indent="0">
              <a:buNone/>
              <a:defRPr/>
            </a:lvl3pPr>
            <a:lvl4pPr marL="342834" indent="0">
              <a:buNone/>
              <a:defRPr/>
            </a:lvl4pPr>
            <a:lvl5pPr marL="514252"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grpSp>
        <p:nvGrpSpPr>
          <p:cNvPr id="3" name="Group 2"/>
          <p:cNvGrpSpPr/>
          <p:nvPr/>
        </p:nvGrpSpPr>
        <p:grpSpPr>
          <a:xfrm>
            <a:off x="0" y="6606190"/>
            <a:ext cx="12436475" cy="393055"/>
            <a:chOff x="0" y="6477243"/>
            <a:chExt cx="12192000" cy="385383"/>
          </a:xfrm>
        </p:grpSpPr>
        <p:sp>
          <p:nvSpPr>
            <p:cNvPr id="4" name="Rectangle 3"/>
            <p:cNvSpPr/>
            <p:nvPr/>
          </p:nvSpPr>
          <p:spPr bwMode="auto">
            <a:xfrm>
              <a:off x="0" y="6477243"/>
              <a:ext cx="12192000" cy="38538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699220" fontAlgn="base">
                <a:lnSpc>
                  <a:spcPct val="90000"/>
                </a:lnSpc>
                <a:spcBef>
                  <a:spcPct val="0"/>
                </a:spcBef>
                <a:spcAft>
                  <a:spcPct val="0"/>
                </a:spcAft>
              </a:pPr>
              <a:r>
                <a:rPr lang="en-US" sz="900" dirty="0">
                  <a:gradFill>
                    <a:gsLst>
                      <a:gs pos="0">
                        <a:srgbClr val="FFFFFF"/>
                      </a:gs>
                      <a:gs pos="100000">
                        <a:srgbClr val="FFFFFF"/>
                      </a:gs>
                    </a:gsLst>
                    <a:lin ang="5400000" scaled="0"/>
                  </a:gradFill>
                  <a:latin typeface="Segoe UI Light"/>
                  <a:ea typeface="Segoe UI" pitchFamily="34" charset="0"/>
                  <a:cs typeface="Segoe UI" pitchFamily="34" charset="0"/>
                </a:rPr>
                <a:t>Microsoft Confidential</a:t>
              </a:r>
              <a:endParaRPr lang="en-SG" sz="900"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pic>
          <p:nvPicPr>
            <p:cNvPr id="5" name="Picture 2" descr="Z:\Wunderman Team Microsoft\Microsoft FY13\Commercial\RM All Up\Brand Briefing\MS new logo\MSFT_logo_rgb_C-Wht.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936641" y="6477243"/>
              <a:ext cx="1047675" cy="385383"/>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731222977"/>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8_Title and Conten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3884605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rgbClr val="00396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8322202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Title Slide - ANIMATED">
    <p:bg bwMode="auto">
      <p:bgPr>
        <a:solidFill>
          <a:schemeClr val="accent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1" y="3954458"/>
            <a:ext cx="6399212" cy="1830388"/>
          </a:xfrm>
          <a:noFill/>
        </p:spPr>
        <p:txBody>
          <a:bodyPr lIns="146304" tIns="109728" rIns="146304" bIns="109728">
            <a:noAutofit/>
          </a:bodyPr>
          <a:lstStyle>
            <a:lvl1pPr marL="0" indent="0">
              <a:spcBef>
                <a:spcPts val="0"/>
              </a:spcBef>
              <a:buNone/>
              <a:defRPr lang="en-US" sz="3000" b="0" kern="1200" cap="none" spc="-75" baseline="0" dirty="0" smtClean="0">
                <a:ln w="3175">
                  <a:noFill/>
                </a:ln>
                <a:solidFill>
                  <a:schemeClr val="bg1"/>
                </a:solidFill>
                <a:effectLst/>
                <a:latin typeface="+mj-lt"/>
                <a:ea typeface="+mn-ea"/>
                <a:cs typeface="+mn-cs"/>
              </a:defRPr>
            </a:lvl1pPr>
          </a:lstStyle>
          <a:p>
            <a:pPr lvl="0"/>
            <a:r>
              <a:rPr lang="en-US" dirty="0" smtClean="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3000" b="1" spc="-75" baseline="0">
                <a:solidFill>
                  <a:schemeClr val="bg1"/>
                </a:solidFill>
                <a:latin typeface="+mn-lt"/>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333" y="6182441"/>
            <a:ext cx="1552931" cy="332660"/>
          </a:xfrm>
          <a:prstGeom prst="rect">
            <a:avLst/>
          </a:prstGeom>
        </p:spPr>
      </p:pic>
      <p:sp>
        <p:nvSpPr>
          <p:cNvPr id="8" name="Rectangle 6"/>
          <p:cNvSpPr>
            <a:spLocks noChangeArrowheads="1"/>
          </p:cNvSpPr>
          <p:nvPr userDrawn="1"/>
        </p:nvSpPr>
        <p:spPr bwMode="auto">
          <a:xfrm>
            <a:off x="3174" y="4395789"/>
            <a:ext cx="12433301"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70" tIns="34285" rIns="68570" bIns="34285" numCol="1" anchor="t" anchorCtr="0" compatLnSpc="1">
            <a:prstTxWarp prst="textNoShape">
              <a:avLst/>
            </a:prstTxWarp>
          </a:bodyPr>
          <a:lstStyle/>
          <a:p>
            <a:pPr defTabSz="932597"/>
            <a:endParaRPr lang="en-US" sz="1350">
              <a:solidFill>
                <a:srgbClr val="FFFFFF"/>
              </a:solidFill>
            </a:endParaRPr>
          </a:p>
        </p:txBody>
      </p:sp>
      <p:sp>
        <p:nvSpPr>
          <p:cNvPr id="14" name="TextBox 7"/>
          <p:cNvSpPr txBox="1"/>
          <p:nvPr userDrawn="1"/>
        </p:nvSpPr>
        <p:spPr bwMode="white">
          <a:xfrm>
            <a:off x="4810417" y="6674994"/>
            <a:ext cx="2815643"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87" spc="112"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557143134"/>
      </p:ext>
    </p:extLst>
  </p:cSld>
  <p:clrMapOvr>
    <a:masterClrMapping/>
  </p:clrMapOvr>
  <p:transition spd="slow">
    <p:push/>
  </p:transition>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1490257"/>
          </a:xfrm>
        </p:spPr>
        <p:txBody>
          <a:bodyPr>
            <a:spAutoFit/>
          </a:bodyPr>
          <a:lstStyle>
            <a:lvl1pPr>
              <a:defRPr sz="3000">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19197651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50"/>
            <a:ext cx="5486399" cy="1455398"/>
          </a:xfrm>
        </p:spPr>
        <p:txBody>
          <a:bodyPr wrap="square">
            <a:spAutoFit/>
          </a:bodyPr>
          <a:lstStyle>
            <a:lvl1pPr marL="0" indent="0">
              <a:spcBef>
                <a:spcPts val="918"/>
              </a:spcBef>
              <a:buClr>
                <a:schemeClr val="tx1"/>
              </a:buClr>
              <a:buFont typeface="Wingdings" pitchFamily="2" charset="2"/>
              <a:buNone/>
              <a:defRPr sz="2700">
                <a:solidFill>
                  <a:srgbClr val="000000"/>
                </a:solidFill>
              </a:defRPr>
            </a:lvl1pPr>
            <a:lvl2pPr marL="0" indent="0">
              <a:buNone/>
              <a:defRPr sz="1500">
                <a:solidFill>
                  <a:srgbClr val="000000"/>
                </a:solidFill>
              </a:defRPr>
            </a:lvl2pPr>
            <a:lvl3pPr marL="173815" indent="0">
              <a:buNone/>
              <a:tabLst/>
              <a:defRPr sz="1500">
                <a:solidFill>
                  <a:srgbClr val="000000"/>
                </a:solidFill>
              </a:defRPr>
            </a:lvl3pPr>
            <a:lvl4pPr marL="345250" indent="0">
              <a:buNone/>
              <a:defRPr>
                <a:solidFill>
                  <a:srgbClr val="000000"/>
                </a:solidFill>
              </a:defRPr>
            </a:lvl4pPr>
            <a:lvl5pPr marL="514304" indent="0">
              <a:buNone/>
              <a:tabLst/>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675441" y="1212850"/>
            <a:ext cx="5486399" cy="1455398"/>
          </a:xfrm>
        </p:spPr>
        <p:txBody>
          <a:bodyPr wrap="square">
            <a:spAutoFit/>
          </a:bodyPr>
          <a:lstStyle>
            <a:lvl1pPr marL="0" indent="0">
              <a:spcBef>
                <a:spcPts val="918"/>
              </a:spcBef>
              <a:buClr>
                <a:schemeClr val="tx1"/>
              </a:buClr>
              <a:buFont typeface="Wingdings" pitchFamily="2" charset="2"/>
              <a:buNone/>
              <a:defRPr sz="2700">
                <a:solidFill>
                  <a:srgbClr val="000000"/>
                </a:solidFill>
              </a:defRPr>
            </a:lvl1pPr>
            <a:lvl2pPr marL="0" indent="0">
              <a:buNone/>
              <a:defRPr sz="1500">
                <a:solidFill>
                  <a:srgbClr val="000000"/>
                </a:solidFill>
              </a:defRPr>
            </a:lvl2pPr>
            <a:lvl3pPr marL="173815" indent="0">
              <a:buNone/>
              <a:tabLst/>
              <a:defRPr sz="1500">
                <a:solidFill>
                  <a:srgbClr val="000000"/>
                </a:solidFill>
              </a:defRPr>
            </a:lvl3pPr>
            <a:lvl4pPr marL="345250" indent="0">
              <a:buNone/>
              <a:defRPr>
                <a:solidFill>
                  <a:srgbClr val="000000"/>
                </a:solidFill>
              </a:defRPr>
            </a:lvl4pPr>
            <a:lvl5pPr marL="514304" indent="0">
              <a:buNone/>
              <a:tabLst/>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22241218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389">
                      <a:schemeClr val="tx2"/>
                    </a:gs>
                    <a:gs pos="31000">
                      <a:schemeClr val="tx2"/>
                    </a:gs>
                  </a:gsLst>
                  <a:lin ang="5400000" scaled="0"/>
                </a:gradFill>
              </a:defRPr>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389">
                      <a:schemeClr val="tx2"/>
                    </a:gs>
                    <a:gs pos="31000">
                      <a:schemeClr val="tx2"/>
                    </a:gs>
                  </a:gsLst>
                  <a:lin ang="5400000" scaled="0"/>
                </a:gradFill>
              </a:defRPr>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7959926"/>
      </p:ext>
    </p:extLst>
  </p:cSld>
  <p:clrMapOvr>
    <a:masterClrMapping/>
  </p:clrMapOvr>
  <p:transition>
    <p:fade/>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16" name="Title 1"/>
          <p:cNvSpPr>
            <a:spLocks noGrp="1"/>
          </p:cNvSpPr>
          <p:nvPr>
            <p:ph type="title"/>
          </p:nvPr>
        </p:nvSpPr>
        <p:spPr>
          <a:xfrm>
            <a:off x="310139" y="77346"/>
            <a:ext cx="11255765" cy="928140"/>
          </a:xfrm>
        </p:spPr>
        <p:txBody>
          <a:bodyPr lIns="0">
            <a:normAutofit/>
          </a:bodyPr>
          <a:lstStyle>
            <a:lvl1pPr algn="l">
              <a:defRPr sz="2856"/>
            </a:lvl1pPr>
          </a:lstStyle>
          <a:p>
            <a:r>
              <a:rPr lang="en-US" dirty="0" smtClean="0"/>
              <a:t>Click to edit Master title style</a:t>
            </a:r>
            <a:endParaRPr lang="en-US" dirty="0"/>
          </a:p>
        </p:txBody>
      </p:sp>
    </p:spTree>
    <p:extLst>
      <p:ext uri="{BB962C8B-B14F-4D97-AF65-F5344CB8AC3E}">
        <p14:creationId xmlns:p14="http://schemas.microsoft.com/office/powerpoint/2010/main" val="970825135"/>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grpSp>
        <p:nvGrpSpPr>
          <p:cNvPr id="2" name="Group 1"/>
          <p:cNvGrpSpPr/>
          <p:nvPr userDrawn="1"/>
        </p:nvGrpSpPr>
        <p:grpSpPr>
          <a:xfrm>
            <a:off x="0" y="-318"/>
            <a:ext cx="12436475" cy="6995160"/>
            <a:chOff x="-237725" y="482606"/>
            <a:chExt cx="12436475" cy="6995160"/>
          </a:xfrm>
        </p:grpSpPr>
        <p:sp>
          <p:nvSpPr>
            <p:cNvPr id="3" name="Rectangle 2"/>
            <p:cNvSpPr/>
            <p:nvPr/>
          </p:nvSpPr>
          <p:spPr bwMode="auto">
            <a:xfrm>
              <a:off x="-237725" y="482924"/>
              <a:ext cx="12436475" cy="699452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91" fontAlgn="base">
                <a:lnSpc>
                  <a:spcPct val="90000"/>
                </a:lnSpc>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White Frame"/>
            <p:cNvSpPr/>
            <p:nvPr/>
          </p:nvSpPr>
          <p:spPr>
            <a:xfrm>
              <a:off x="-237408" y="482606"/>
              <a:ext cx="12435840" cy="6995160"/>
            </a:xfrm>
            <a:custGeom>
              <a:avLst/>
              <a:gdLst>
                <a:gd name="connsiteX0" fmla="*/ 92964 w 12192000"/>
                <a:gd name="connsiteY0" fmla="*/ 91440 h 6858000"/>
                <a:gd name="connsiteX1" fmla="*/ 92964 w 12192000"/>
                <a:gd name="connsiteY1" fmla="*/ 6766560 h 6858000"/>
                <a:gd name="connsiteX2" fmla="*/ 12099036 w 12192000"/>
                <a:gd name="connsiteY2" fmla="*/ 6766560 h 6858000"/>
                <a:gd name="connsiteX3" fmla="*/ 12099036 w 12192000"/>
                <a:gd name="connsiteY3" fmla="*/ 91440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92964" y="91440"/>
                  </a:moveTo>
                  <a:lnTo>
                    <a:pt x="92964" y="6766560"/>
                  </a:lnTo>
                  <a:lnTo>
                    <a:pt x="12099036" y="6766560"/>
                  </a:lnTo>
                  <a:lnTo>
                    <a:pt x="12099036" y="91440"/>
                  </a:lnTo>
                  <a:close/>
                  <a:moveTo>
                    <a:pt x="0" y="0"/>
                  </a:moveTo>
                  <a:lnTo>
                    <a:pt x="12192000" y="0"/>
                  </a:lnTo>
                  <a:lnTo>
                    <a:pt x="12192000" y="6858000"/>
                  </a:lnTo>
                  <a:lnTo>
                    <a:pt x="0" y="6858000"/>
                  </a:lnTo>
                  <a:close/>
                </a:path>
              </a:pathLst>
            </a:custGeom>
            <a:solidFill>
              <a:srgbClr val="FFFFFF"/>
            </a:solidFill>
            <a:ln w="10795" cap="flat" cmpd="sng" algn="ctr">
              <a:solidFill>
                <a:srgbClr val="FFFFFF"/>
              </a:solidFill>
              <a:prstDash val="solid"/>
            </a:ln>
            <a:effectLst/>
          </p:spPr>
          <p:txBody>
            <a:bodyPr rtlCol="0" anchor="ctr"/>
            <a:lstStyle/>
            <a:p>
              <a:pPr algn="ctr" defTabSz="685738">
                <a:defRPr/>
              </a:pPr>
              <a:endParaRPr lang="en-US" sz="1350" kern="0" smtClean="0">
                <a:solidFill>
                  <a:srgbClr val="FFFFFF"/>
                </a:solidFill>
              </a:endParaRPr>
            </a:p>
          </p:txBody>
        </p:sp>
      </p:grpSp>
    </p:spTree>
    <p:extLst>
      <p:ext uri="{BB962C8B-B14F-4D97-AF65-F5344CB8AC3E}">
        <p14:creationId xmlns:p14="http://schemas.microsoft.com/office/powerpoint/2010/main" val="1384736915"/>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Photo_background">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
            <a:ext cx="12432731" cy="6995160"/>
          </a:xfrm>
          <a:prstGeom prst="rect">
            <a:avLst/>
          </a:prstGeom>
        </p:spPr>
      </p:pic>
      <p:sp>
        <p:nvSpPr>
          <p:cNvPr id="3" name="Footer Placeholder 2"/>
          <p:cNvSpPr>
            <a:spLocks noGrp="1"/>
          </p:cNvSpPr>
          <p:nvPr>
            <p:ph type="ftr" sz="quarter" idx="10"/>
          </p:nvPr>
        </p:nvSpPr>
        <p:spPr/>
        <p:txBody>
          <a:bodyPr/>
          <a:lstStyle/>
          <a:p>
            <a:pPr defTabSz="932597"/>
            <a:r>
              <a:rPr lang="en-US" smtClean="0"/>
              <a:t>Microsoft Confidential</a:t>
            </a:r>
            <a:endParaRPr lang="en-US"/>
          </a:p>
        </p:txBody>
      </p:sp>
    </p:spTree>
    <p:extLst>
      <p:ext uri="{BB962C8B-B14F-4D97-AF65-F5344CB8AC3E}">
        <p14:creationId xmlns:p14="http://schemas.microsoft.com/office/powerpoint/2010/main" val="3611270394"/>
      </p:ext>
    </p:extLst>
  </p:cSld>
  <p:clrMapOvr>
    <a:masterClrMapping/>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
                    </a14:imgEffect>
                  </a14:imgLayer>
                </a14:imgProps>
              </a:ext>
              <a:ext uri="{28A0092B-C50C-407E-A947-70E740481C1C}">
                <a14:useLocalDpi xmlns:a14="http://schemas.microsoft.com/office/drawing/2010/main" val="0"/>
              </a:ext>
            </a:extLst>
          </a:blip>
          <a:stretch>
            <a:fillRect/>
          </a:stretch>
        </p:blipFill>
        <p:spPr bwMode="gray">
          <a:xfrm>
            <a:off x="10426345" y="6182441"/>
            <a:ext cx="1552931" cy="332660"/>
          </a:xfrm>
          <a:prstGeom prst="rect">
            <a:avLst/>
          </a:prstGeom>
        </p:spPr>
      </p:pic>
      <p:pic>
        <p:nvPicPr>
          <p:cNvPr id="6" name="Picture 5"/>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479280" y="493939"/>
            <a:ext cx="7500693" cy="1371600"/>
          </a:xfrm>
          <a:prstGeom prst="rect">
            <a:avLst/>
          </a:prstGeom>
        </p:spPr>
      </p:pic>
    </p:spTree>
    <p:extLst>
      <p:ext uri="{BB962C8B-B14F-4D97-AF65-F5344CB8AC3E}">
        <p14:creationId xmlns:p14="http://schemas.microsoft.com/office/powerpoint/2010/main" val="1769857644"/>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4" y="4395789"/>
            <a:ext cx="12433301" cy="2601913"/>
          </a:xfrm>
          <a:prstGeom prst="rect">
            <a:avLst/>
          </a:prstGeom>
          <a:solidFill>
            <a:srgbClr val="4D9ED7"/>
          </a:solidFill>
          <a:ln>
            <a:noFill/>
          </a:ln>
        </p:spPr>
        <p:txBody>
          <a:bodyPr vert="horz" wrap="square" lIns="68570" tIns="34285" rIns="68570" bIns="34285" numCol="1" anchor="t" anchorCtr="0" compatLnSpc="1">
            <a:prstTxWarp prst="textNoShape">
              <a:avLst/>
            </a:prstTxWarp>
          </a:bodyPr>
          <a:lstStyle/>
          <a:p>
            <a:pPr defTabSz="699493"/>
            <a:endParaRPr lang="en-US" sz="1350">
              <a:solidFill>
                <a:srgbClr val="FFFFFF"/>
              </a:solidFill>
            </a:endParaRPr>
          </a:p>
        </p:txBody>
      </p:sp>
      <p:sp>
        <p:nvSpPr>
          <p:cNvPr id="10" name="Rectangle 7"/>
          <p:cNvSpPr>
            <a:spLocks noChangeArrowheads="1"/>
          </p:cNvSpPr>
          <p:nvPr userDrawn="1"/>
        </p:nvSpPr>
        <p:spPr bwMode="auto">
          <a:xfrm>
            <a:off x="1" y="5843588"/>
            <a:ext cx="12433301" cy="1154113"/>
          </a:xfrm>
          <a:prstGeom prst="rect">
            <a:avLst/>
          </a:prstGeom>
          <a:solidFill>
            <a:srgbClr val="00188F"/>
          </a:solidFill>
          <a:ln>
            <a:noFill/>
          </a:ln>
          <a:extLst/>
        </p:spPr>
        <p:txBody>
          <a:bodyPr vert="horz" wrap="square" lIns="68570" tIns="34285" rIns="68570" bIns="34285" numCol="1" anchor="t" anchorCtr="0" compatLnSpc="1">
            <a:prstTxWarp prst="textNoShape">
              <a:avLst/>
            </a:prstTxWarp>
          </a:bodyPr>
          <a:lstStyle/>
          <a:p>
            <a:pPr defTabSz="699493"/>
            <a:endParaRPr lang="en-US" sz="1350">
              <a:solidFill>
                <a:srgbClr val="FFFFFF"/>
              </a:solidFill>
            </a:endParaRPr>
          </a:p>
        </p:txBody>
      </p:sp>
      <p:sp>
        <p:nvSpPr>
          <p:cNvPr id="11" name="Rectangle 8"/>
          <p:cNvSpPr>
            <a:spLocks noChangeArrowheads="1"/>
          </p:cNvSpPr>
          <p:nvPr userDrawn="1"/>
        </p:nvSpPr>
        <p:spPr bwMode="auto">
          <a:xfrm>
            <a:off x="3176" y="3409951"/>
            <a:ext cx="12430128"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0" tIns="34285" rIns="68570" bIns="34285" numCol="1" anchor="t" anchorCtr="0" compatLnSpc="1">
            <a:prstTxWarp prst="textNoShape">
              <a:avLst/>
            </a:prstTxWarp>
          </a:bodyPr>
          <a:lstStyle/>
          <a:p>
            <a:pPr defTabSz="699493"/>
            <a:endParaRPr lang="en-US" sz="1350">
              <a:solidFill>
                <a:srgbClr val="FFFFFF"/>
              </a:solidFill>
            </a:endParaRPr>
          </a:p>
        </p:txBody>
      </p:sp>
      <p:sp>
        <p:nvSpPr>
          <p:cNvPr id="13" name="Rectangle 12"/>
          <p:cNvSpPr/>
          <p:nvPr userDrawn="1"/>
        </p:nvSpPr>
        <p:spPr bwMode="white">
          <a:xfrm>
            <a:off x="636"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2" rIns="137141" bIns="109712" numCol="1" spcCol="0" rtlCol="0" fromWordArt="0" anchor="t" anchorCtr="0" forceAA="0" compatLnSpc="1">
            <a:prstTxWarp prst="textNoShape">
              <a:avLst/>
            </a:prstTxWarp>
            <a:noAutofit/>
          </a:bodyPr>
          <a:lstStyle/>
          <a:p>
            <a:pPr algn="ctr" defTabSz="699291" fontAlgn="base">
              <a:lnSpc>
                <a:spcPct val="90000"/>
              </a:lnSpc>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1" y="3954458"/>
            <a:ext cx="6399212" cy="1830388"/>
          </a:xfrm>
          <a:noFill/>
        </p:spPr>
        <p:txBody>
          <a:bodyPr lIns="146304" tIns="109728" rIns="146304" bIns="109728">
            <a:noAutofit/>
          </a:bodyPr>
          <a:lstStyle>
            <a:lvl1pPr marL="0" indent="0">
              <a:spcBef>
                <a:spcPts val="0"/>
              </a:spcBef>
              <a:buNone/>
              <a:defRPr sz="27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4500" spc="-75"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333" y="6182441"/>
            <a:ext cx="1552931" cy="332660"/>
          </a:xfrm>
          <a:prstGeom prst="rect">
            <a:avLst/>
          </a:prstGeom>
        </p:spPr>
      </p:pic>
      <p:sp>
        <p:nvSpPr>
          <p:cNvPr id="8" name="Rectangle 6"/>
          <p:cNvSpPr>
            <a:spLocks noChangeArrowheads="1"/>
          </p:cNvSpPr>
          <p:nvPr userDrawn="1"/>
        </p:nvSpPr>
        <p:spPr bwMode="auto">
          <a:xfrm>
            <a:off x="3174" y="4395789"/>
            <a:ext cx="12433301"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70" tIns="34285" rIns="68570" bIns="34285" numCol="1" anchor="t" anchorCtr="0" compatLnSpc="1">
            <a:prstTxWarp prst="textNoShape">
              <a:avLst/>
            </a:prstTxWarp>
          </a:bodyPr>
          <a:lstStyle/>
          <a:p>
            <a:pPr defTabSz="699493"/>
            <a:endParaRPr lang="en-US" sz="1350">
              <a:solidFill>
                <a:srgbClr val="FFFFFF"/>
              </a:solidFill>
            </a:endParaRPr>
          </a:p>
        </p:txBody>
      </p:sp>
      <p:sp>
        <p:nvSpPr>
          <p:cNvPr id="14" name="TextBox 7"/>
          <p:cNvSpPr txBox="1"/>
          <p:nvPr userDrawn="1"/>
        </p:nvSpPr>
        <p:spPr bwMode="white">
          <a:xfrm>
            <a:off x="4810417" y="6717858"/>
            <a:ext cx="2815643"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87" spc="112"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
        <p:nvSpPr>
          <p:cNvPr id="17" name="Text Placeholder 16"/>
          <p:cNvSpPr>
            <a:spLocks noGrp="1"/>
          </p:cNvSpPr>
          <p:nvPr>
            <p:ph type="body" sz="quarter" idx="13" hasCustomPrompt="1"/>
          </p:nvPr>
        </p:nvSpPr>
        <p:spPr>
          <a:xfrm>
            <a:off x="274639" y="296863"/>
            <a:ext cx="3657599" cy="396108"/>
          </a:xfrm>
        </p:spPr>
        <p:txBody>
          <a:bodyPr/>
          <a:lstStyle>
            <a:lvl1pPr marL="0" indent="0">
              <a:buNone/>
              <a:defRPr sz="1500">
                <a:latin typeface="+mn-lt"/>
              </a:defRPr>
            </a:lvl1pPr>
            <a:lvl2pPr marL="257151" indent="0">
              <a:buNone/>
              <a:defRPr sz="1500"/>
            </a:lvl2pPr>
            <a:lvl3pPr marL="428586" indent="0">
              <a:buNone/>
              <a:defRPr sz="1500"/>
            </a:lvl3pPr>
            <a:lvl4pPr marL="600021" indent="0">
              <a:buNone/>
              <a:defRPr sz="1500"/>
            </a:lvl4pPr>
            <a:lvl5pPr marL="771455" indent="0">
              <a:buNone/>
              <a:defRPr sz="1500"/>
            </a:lvl5pPr>
          </a:lstStyle>
          <a:p>
            <a:pPr lvl="0"/>
            <a:r>
              <a:rPr lang="en-US" dirty="0" smtClean="0"/>
              <a:t>Session Code</a:t>
            </a:r>
            <a:endParaRPr lang="en-US" dirty="0"/>
          </a:p>
        </p:txBody>
      </p:sp>
    </p:spTree>
    <p:extLst>
      <p:ext uri="{BB962C8B-B14F-4D97-AF65-F5344CB8AC3E}">
        <p14:creationId xmlns:p14="http://schemas.microsoft.com/office/powerpoint/2010/main" val="327112535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Title Slide - STATIC">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1" y="3954458"/>
            <a:ext cx="6399212" cy="1830388"/>
          </a:xfrm>
          <a:noFill/>
        </p:spPr>
        <p:txBody>
          <a:bodyPr lIns="146304" tIns="109728" rIns="146304" bIns="109728">
            <a:noAutofit/>
          </a:bodyPr>
          <a:lstStyle>
            <a:lvl1pPr marL="0" indent="0">
              <a:spcBef>
                <a:spcPts val="0"/>
              </a:spcBef>
              <a:buNone/>
              <a:defRPr sz="27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4500" spc="-75"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58333" y="6182441"/>
            <a:ext cx="1552931" cy="332660"/>
          </a:xfrm>
          <a:prstGeom prst="rect">
            <a:avLst/>
          </a:prstGeom>
        </p:spPr>
      </p:pic>
      <p:sp>
        <p:nvSpPr>
          <p:cNvPr id="8" name="Rectangle 6"/>
          <p:cNvSpPr>
            <a:spLocks noChangeArrowheads="1"/>
          </p:cNvSpPr>
          <p:nvPr userDrawn="1"/>
        </p:nvSpPr>
        <p:spPr bwMode="auto">
          <a:xfrm>
            <a:off x="3174" y="4395789"/>
            <a:ext cx="12433301"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70" tIns="34285" rIns="68570" bIns="34285" numCol="1" anchor="t" anchorCtr="0" compatLnSpc="1">
            <a:prstTxWarp prst="textNoShape">
              <a:avLst/>
            </a:prstTxWarp>
          </a:bodyPr>
          <a:lstStyle/>
          <a:p>
            <a:pPr defTabSz="699493"/>
            <a:endParaRPr lang="en-US" sz="1350">
              <a:solidFill>
                <a:srgbClr val="FFFFFF"/>
              </a:solidFill>
            </a:endParaRPr>
          </a:p>
        </p:txBody>
      </p:sp>
      <p:sp>
        <p:nvSpPr>
          <p:cNvPr id="14" name="TextBox 7"/>
          <p:cNvSpPr txBox="1"/>
          <p:nvPr userDrawn="1"/>
        </p:nvSpPr>
        <p:spPr bwMode="white">
          <a:xfrm>
            <a:off x="4810417" y="6717858"/>
            <a:ext cx="2815643"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87" spc="112"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
        <p:nvSpPr>
          <p:cNvPr id="15" name="Text Placeholder 16"/>
          <p:cNvSpPr>
            <a:spLocks noGrp="1"/>
          </p:cNvSpPr>
          <p:nvPr>
            <p:ph type="body" sz="quarter" idx="13" hasCustomPrompt="1"/>
          </p:nvPr>
        </p:nvSpPr>
        <p:spPr>
          <a:xfrm>
            <a:off x="274639" y="296863"/>
            <a:ext cx="3657599" cy="396108"/>
          </a:xfrm>
        </p:spPr>
        <p:txBody>
          <a:bodyPr/>
          <a:lstStyle>
            <a:lvl1pPr marL="0" indent="0">
              <a:buNone/>
              <a:defRPr sz="1500">
                <a:latin typeface="+mn-lt"/>
              </a:defRPr>
            </a:lvl1pPr>
            <a:lvl2pPr marL="257151" indent="0">
              <a:buNone/>
              <a:defRPr sz="1500"/>
            </a:lvl2pPr>
            <a:lvl3pPr marL="428586" indent="0">
              <a:buNone/>
              <a:defRPr sz="1500"/>
            </a:lvl3pPr>
            <a:lvl4pPr marL="600021" indent="0">
              <a:buNone/>
              <a:defRPr sz="1500"/>
            </a:lvl4pPr>
            <a:lvl5pPr marL="771455" indent="0">
              <a:buNone/>
              <a:defRPr sz="1500"/>
            </a:lvl5pPr>
          </a:lstStyle>
          <a:p>
            <a:pPr lvl="0"/>
            <a:r>
              <a:rPr lang="en-US" dirty="0" smtClean="0"/>
              <a:t>Session Code</a:t>
            </a:r>
            <a:endParaRPr lang="en-US" dirty="0"/>
          </a:p>
        </p:txBody>
      </p:sp>
    </p:spTree>
    <p:extLst>
      <p:ext uri="{BB962C8B-B14F-4D97-AF65-F5344CB8AC3E}">
        <p14:creationId xmlns:p14="http://schemas.microsoft.com/office/powerpoint/2010/main" val="35120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smtClean="0"/>
              <a:t>Click to edit Master title style</a:t>
            </a:r>
            <a:endParaRPr lang="en-US"/>
          </a:p>
        </p:txBody>
      </p:sp>
    </p:spTree>
    <p:extLst>
      <p:ext uri="{BB962C8B-B14F-4D97-AF65-F5344CB8AC3E}">
        <p14:creationId xmlns:p14="http://schemas.microsoft.com/office/powerpoint/2010/main" val="4126420132"/>
      </p:ext>
    </p:extLst>
  </p:cSld>
  <p:clrMapOvr>
    <a:masterClrMapping/>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771718" y="304193"/>
            <a:ext cx="5395170" cy="6400800"/>
          </a:xfrm>
          <a:prstGeom prst="rect">
            <a:avLst/>
          </a:prstGeom>
        </p:spPr>
      </p:pic>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2" rIns="137141" bIns="109712" numCol="1" spcCol="0" rtlCol="0" fromWordArt="0" anchor="t" anchorCtr="0" forceAA="0" compatLnSpc="1">
            <a:prstTxWarp prst="textNoShape">
              <a:avLst/>
            </a:prstTxWarp>
            <a:noAutofit/>
          </a:bodyPr>
          <a:lstStyle/>
          <a:p>
            <a:pPr algn="ctr" defTabSz="699291" fontAlgn="base">
              <a:lnSpc>
                <a:spcPct val="90000"/>
              </a:lnSpc>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40" y="1209973"/>
            <a:ext cx="7314044" cy="3475534"/>
          </a:xfrm>
          <a:noFill/>
        </p:spPr>
        <p:txBody>
          <a:bodyPr tIns="91440" bIns="91440" anchor="t" anchorCtr="0"/>
          <a:lstStyle>
            <a:lvl1pPr>
              <a:defRPr sz="5399" spc="-75" baseline="0">
                <a:gradFill>
                  <a:gsLst>
                    <a:gs pos="75912">
                      <a:schemeClr val="tx1"/>
                    </a:gs>
                    <a:gs pos="34307">
                      <a:schemeClr val="tx1"/>
                    </a:gs>
                    <a:gs pos="43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40" y="4685508"/>
            <a:ext cx="7315200" cy="1829593"/>
          </a:xfrm>
          <a:noFill/>
        </p:spPr>
        <p:txBody>
          <a:bodyPr lIns="182880" tIns="146304" rIns="182880" bIns="146304">
            <a:noAutofit/>
          </a:bodyPr>
          <a:lstStyle>
            <a:lvl1pPr marL="0" indent="0">
              <a:spcBef>
                <a:spcPts val="0"/>
              </a:spcBef>
              <a:buNone/>
              <a:defRPr sz="2700" spc="0" baseline="0">
                <a:gradFill>
                  <a:gsLst>
                    <a:gs pos="75912">
                      <a:schemeClr val="tx1"/>
                    </a:gs>
                    <a:gs pos="34307">
                      <a:schemeClr val="tx1"/>
                    </a:gs>
                    <a:gs pos="43000">
                      <a:schemeClr val="tx1"/>
                    </a:gs>
                  </a:gsLst>
                  <a:lin ang="5400000" scaled="0"/>
                </a:gradFill>
                <a:latin typeface="+mj-lt"/>
              </a:defRPr>
            </a:lvl1pPr>
          </a:lstStyle>
          <a:p>
            <a:pPr lvl="0"/>
            <a:r>
              <a:rPr lang="en-US" dirty="0" smtClean="0"/>
              <a:t>Speaker Name</a:t>
            </a:r>
          </a:p>
        </p:txBody>
      </p:sp>
      <p:sp>
        <p:nvSpPr>
          <p:cNvPr id="7" name="TextBox 7"/>
          <p:cNvSpPr txBox="1"/>
          <p:nvPr userDrawn="1"/>
        </p:nvSpPr>
        <p:spPr bwMode="white">
          <a:xfrm>
            <a:off x="4810417" y="6717858"/>
            <a:ext cx="2815643"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87" spc="112"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784781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stretch>
            <a:fillRect/>
          </a:stretch>
        </p:blipFill>
        <p:spPr>
          <a:xfrm>
            <a:off x="636" y="2965618"/>
            <a:ext cx="12435840" cy="3653682"/>
          </a:xfrm>
          <a:prstGeom prst="rect">
            <a:avLst/>
          </a:prstGeom>
        </p:spPr>
      </p:pic>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2" rIns="137141" bIns="109712" numCol="1" spcCol="0" rtlCol="0" fromWordArt="0" anchor="t" anchorCtr="0" forceAA="0" compatLnSpc="1">
            <a:prstTxWarp prst="textNoShape">
              <a:avLst/>
            </a:prstTxWarp>
            <a:noAutofit/>
          </a:bodyPr>
          <a:lstStyle/>
          <a:p>
            <a:pPr algn="ctr" defTabSz="699291" fontAlgn="base">
              <a:lnSpc>
                <a:spcPct val="90000"/>
              </a:lnSpc>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41" y="1209973"/>
            <a:ext cx="9143998" cy="2751698"/>
          </a:xfrm>
          <a:noFill/>
        </p:spPr>
        <p:txBody>
          <a:bodyPr tIns="91440" bIns="91440" anchor="t" anchorCtr="0"/>
          <a:lstStyle>
            <a:lvl1pPr>
              <a:defRPr sz="5399" spc="-75" baseline="0">
                <a:gradFill>
                  <a:gsLst>
                    <a:gs pos="75912">
                      <a:schemeClr val="tx1"/>
                    </a:gs>
                    <a:gs pos="34307">
                      <a:schemeClr val="tx1"/>
                    </a:gs>
                    <a:gs pos="43000">
                      <a:schemeClr val="tx1"/>
                    </a:gs>
                  </a:gsLst>
                  <a:lin ang="5400000" scaled="0"/>
                </a:gradFill>
              </a:defRPr>
            </a:lvl1pPr>
          </a:lstStyle>
          <a:p>
            <a:r>
              <a:rPr lang="en-US" dirty="0" smtClean="0"/>
              <a:t>Video title</a:t>
            </a:r>
            <a:endParaRPr lang="en-US" dirty="0"/>
          </a:p>
        </p:txBody>
      </p:sp>
      <p:sp>
        <p:nvSpPr>
          <p:cNvPr id="5" name="TextBox 7"/>
          <p:cNvSpPr txBox="1"/>
          <p:nvPr userDrawn="1"/>
        </p:nvSpPr>
        <p:spPr bwMode="white">
          <a:xfrm>
            <a:off x="4810417" y="6717858"/>
            <a:ext cx="2815643"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87" spc="112"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986018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3"/>
            <a:ext cx="11887200" cy="1831975"/>
          </a:xfrm>
          <a:noFill/>
        </p:spPr>
        <p:txBody>
          <a:bodyPr tIns="91440" bIns="91440" anchor="t" anchorCtr="0"/>
          <a:lstStyle>
            <a:lvl1pPr>
              <a:defRPr sz="6600" spc="-75" baseline="0">
                <a:gradFill>
                  <a:gsLst>
                    <a:gs pos="75912">
                      <a:schemeClr val="tx1"/>
                    </a:gs>
                    <a:gs pos="34307">
                      <a:schemeClr val="tx1"/>
                    </a:gs>
                    <a:gs pos="43000">
                      <a:schemeClr val="tx1"/>
                    </a:gs>
                  </a:gsLst>
                  <a:lin ang="5400000" scaled="0"/>
                </a:gradFill>
              </a:defRPr>
            </a:lvl1pPr>
          </a:lstStyle>
          <a:p>
            <a:r>
              <a:rPr lang="en-US" dirty="0" smtClean="0"/>
              <a:t>Section title</a:t>
            </a:r>
            <a:endParaRPr lang="en-US" dirty="0"/>
          </a:p>
        </p:txBody>
      </p:sp>
      <p:sp>
        <p:nvSpPr>
          <p:cNvPr id="3" name="TextBox 7"/>
          <p:cNvSpPr txBox="1"/>
          <p:nvPr userDrawn="1"/>
        </p:nvSpPr>
        <p:spPr bwMode="white">
          <a:xfrm>
            <a:off x="4810417" y="6717858"/>
            <a:ext cx="2815643"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87" spc="112"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982111157"/>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46586672"/>
      </p:ext>
    </p:extLst>
  </p:cSld>
  <p:clrMapOvr>
    <a:masterClrMapping/>
  </p:clrMapOvr>
  <p:transition>
    <p:fade/>
  </p:transition>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3"/>
            <a:ext cx="11887200" cy="1831975"/>
          </a:xfrm>
          <a:noFill/>
        </p:spPr>
        <p:txBody>
          <a:bodyPr tIns="91440" bIns="91440" anchor="t" anchorCtr="0"/>
          <a:lstStyle>
            <a:lvl1pPr algn="l" defTabSz="699493" rtl="0" eaLnBrk="1" latinLnBrk="0" hangingPunct="1">
              <a:lnSpc>
                <a:spcPct val="90000"/>
              </a:lnSpc>
              <a:spcBef>
                <a:spcPct val="0"/>
              </a:spcBef>
              <a:buNone/>
              <a:defRPr lang="en-US" sz="6600" b="0" kern="1200" cap="none" spc="-75"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
        <p:nvSpPr>
          <p:cNvPr id="3" name="TextBox 7"/>
          <p:cNvSpPr txBox="1"/>
          <p:nvPr userDrawn="1"/>
        </p:nvSpPr>
        <p:spPr bwMode="white">
          <a:xfrm>
            <a:off x="4810417" y="6717858"/>
            <a:ext cx="2815643"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87" spc="112"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049565980"/>
      </p:ext>
    </p:extLst>
  </p:cSld>
  <p:clrMapOvr>
    <a:masterClrMapping/>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3"/>
            <a:ext cx="11887200" cy="1831975"/>
          </a:xfrm>
          <a:noFill/>
        </p:spPr>
        <p:txBody>
          <a:bodyPr tIns="91440" bIns="91440" anchor="t" anchorCtr="0"/>
          <a:lstStyle>
            <a:lvl1pPr algn="l" defTabSz="699493" rtl="0" eaLnBrk="1" latinLnBrk="0" hangingPunct="1">
              <a:lnSpc>
                <a:spcPct val="90000"/>
              </a:lnSpc>
              <a:spcBef>
                <a:spcPct val="0"/>
              </a:spcBef>
              <a:buNone/>
              <a:defRPr lang="en-US" sz="6600" b="0" kern="1200" cap="none" spc="-75"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
        <p:nvSpPr>
          <p:cNvPr id="3" name="TextBox 7"/>
          <p:cNvSpPr txBox="1"/>
          <p:nvPr userDrawn="1"/>
        </p:nvSpPr>
        <p:spPr bwMode="white">
          <a:xfrm>
            <a:off x="4810417" y="6717858"/>
            <a:ext cx="2815643"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87" spc="112" dirty="0" smtClean="0">
                <a:gradFill>
                  <a:gsLst>
                    <a:gs pos="0">
                      <a:srgbClr val="505050">
                        <a:alpha val="50000"/>
                      </a:srgbClr>
                    </a:gs>
                    <a:gs pos="86000">
                      <a:srgbClr val="505050">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869613142"/>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74639" y="1212850"/>
            <a:ext cx="11889564" cy="1568864"/>
          </a:xfrm>
        </p:spPr>
        <p:txBody>
          <a:bodyPr/>
          <a:lstStyle>
            <a:lvl1pPr marL="0" indent="0">
              <a:buNone/>
              <a:defRPr/>
            </a:lvl1pPr>
            <a:lvl2pPr marL="21429" indent="0">
              <a:buNone/>
              <a:defRPr sz="1500"/>
            </a:lvl2pPr>
            <a:lvl3pPr marL="167863" indent="0">
              <a:buNone/>
              <a:defRPr sz="1500"/>
            </a:lvl3pPr>
            <a:lvl4pPr marL="357156" indent="0">
              <a:buNone/>
              <a:defRPr sz="1350"/>
            </a:lvl4pPr>
            <a:lvl5pPr marL="554782" indent="0">
              <a:buNone/>
              <a:defRPr sz="135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Box 7"/>
          <p:cNvSpPr txBox="1"/>
          <p:nvPr userDrawn="1"/>
        </p:nvSpPr>
        <p:spPr bwMode="white">
          <a:xfrm>
            <a:off x="4810417" y="6717858"/>
            <a:ext cx="2815643"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87" spc="112"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556699973"/>
      </p:ext>
    </p:extLst>
  </p:cSld>
  <p:clrMapOvr>
    <a:masterClrMapping/>
  </p:clrMapOvr>
  <p:transition>
    <p:fade/>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1720976"/>
          </a:xfrm>
        </p:spPr>
        <p:txBody>
          <a:bodyPr>
            <a:spAutoFit/>
          </a:bodyPr>
          <a:lstStyle>
            <a:lvl3pPr>
              <a:defRPr sz="1800"/>
            </a:lvl3pPr>
            <a:lvl4pPr>
              <a:defRPr sz="1500"/>
            </a:lvl4pPr>
            <a:lvl5pPr>
              <a:defRPr sz="15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
        <p:nvSpPr>
          <p:cNvPr id="5" name="TextBox 7"/>
          <p:cNvSpPr txBox="1"/>
          <p:nvPr userDrawn="1"/>
        </p:nvSpPr>
        <p:spPr bwMode="white">
          <a:xfrm>
            <a:off x="4810417" y="6717858"/>
            <a:ext cx="2815643"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87" spc="112"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659783896"/>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50"/>
            <a:ext cx="5486399" cy="1574277"/>
          </a:xfrm>
        </p:spPr>
        <p:txBody>
          <a:bodyPr wrap="square">
            <a:spAutoFit/>
          </a:bodyPr>
          <a:lstStyle>
            <a:lvl1pPr marL="0" indent="0">
              <a:spcBef>
                <a:spcPts val="918"/>
              </a:spcBef>
              <a:buClr>
                <a:schemeClr val="tx1"/>
              </a:buClr>
              <a:buFont typeface="Wingdings" pitchFamily="2" charset="2"/>
              <a:buNone/>
              <a:defRPr sz="2700"/>
            </a:lvl1pPr>
            <a:lvl2pPr marL="0" indent="0">
              <a:buNone/>
              <a:defRPr sz="1500"/>
            </a:lvl2pPr>
            <a:lvl3pPr marL="173815" indent="0">
              <a:buNone/>
              <a:tabLst/>
              <a:defRPr sz="1500"/>
            </a:lvl3pPr>
            <a:lvl4pPr marL="345250" indent="0">
              <a:buNone/>
              <a:defRPr/>
            </a:lvl4pPr>
            <a:lvl5pPr marL="514304"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1" y="1212850"/>
            <a:ext cx="5486399" cy="1574277"/>
          </a:xfrm>
        </p:spPr>
        <p:txBody>
          <a:bodyPr wrap="square">
            <a:spAutoFit/>
          </a:bodyPr>
          <a:lstStyle>
            <a:lvl1pPr marL="0" indent="0">
              <a:spcBef>
                <a:spcPts val="918"/>
              </a:spcBef>
              <a:buClr>
                <a:schemeClr val="tx1"/>
              </a:buClr>
              <a:buFont typeface="Wingdings" pitchFamily="2" charset="2"/>
              <a:buNone/>
              <a:defRPr sz="2700"/>
            </a:lvl1pPr>
            <a:lvl2pPr marL="0" indent="0">
              <a:buNone/>
              <a:defRPr sz="1500"/>
            </a:lvl2pPr>
            <a:lvl3pPr marL="173815" indent="0">
              <a:buNone/>
              <a:tabLst/>
              <a:defRPr sz="1500"/>
            </a:lvl3pPr>
            <a:lvl4pPr marL="345250" indent="0">
              <a:buNone/>
              <a:defRPr/>
            </a:lvl4pPr>
            <a:lvl5pPr marL="514304"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Box 7"/>
          <p:cNvSpPr txBox="1"/>
          <p:nvPr userDrawn="1"/>
        </p:nvSpPr>
        <p:spPr bwMode="white">
          <a:xfrm>
            <a:off x="4810417" y="6717858"/>
            <a:ext cx="2815643"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87" spc="112"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555587478"/>
      </p:ext>
    </p:extLst>
  </p:cSld>
  <p:clrMapOvr>
    <a:masterClrMapping/>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50"/>
            <a:ext cx="5486399" cy="1625060"/>
          </a:xfrm>
        </p:spPr>
        <p:txBody>
          <a:bodyPr wrap="square">
            <a:spAutoFit/>
          </a:bodyPr>
          <a:lstStyle>
            <a:lvl1pPr marL="215484" indent="-215484">
              <a:spcBef>
                <a:spcPts val="918"/>
              </a:spcBef>
              <a:buClr>
                <a:schemeClr val="tx1"/>
              </a:buClr>
              <a:buFont typeface="Wingdings" panose="05000000000000000000" pitchFamily="2" charset="2"/>
              <a:buChar char="§"/>
              <a:defRPr sz="2700"/>
            </a:lvl1pPr>
            <a:lvl2pPr marL="398338" indent="-174880">
              <a:defRPr sz="1800"/>
            </a:lvl2pPr>
            <a:lvl3pPr marL="524642" indent="-126302">
              <a:tabLst/>
              <a:defRPr sz="1500"/>
            </a:lvl3pPr>
            <a:lvl4pPr marL="660659" indent="-136018">
              <a:defRPr/>
            </a:lvl4pPr>
            <a:lvl5pPr marL="786962" indent="-126302">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1" y="1212850"/>
            <a:ext cx="5486399" cy="1625060"/>
          </a:xfrm>
        </p:spPr>
        <p:txBody>
          <a:bodyPr wrap="square">
            <a:spAutoFit/>
          </a:bodyPr>
          <a:lstStyle>
            <a:lvl1pPr marL="215484" indent="-215484">
              <a:spcBef>
                <a:spcPts val="918"/>
              </a:spcBef>
              <a:buClr>
                <a:schemeClr val="tx1"/>
              </a:buClr>
              <a:buFont typeface="Wingdings" panose="05000000000000000000" pitchFamily="2" charset="2"/>
              <a:buChar char="§"/>
              <a:defRPr sz="2700"/>
            </a:lvl1pPr>
            <a:lvl2pPr marL="398338" indent="-174880">
              <a:defRPr sz="1800"/>
            </a:lvl2pPr>
            <a:lvl3pPr marL="524642" indent="-126302">
              <a:tabLst/>
              <a:defRPr sz="1500"/>
            </a:lvl3pPr>
            <a:lvl4pPr marL="660659" indent="-136018">
              <a:defRPr/>
            </a:lvl4pPr>
            <a:lvl5pPr marL="786962" indent="-126302">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Box 7"/>
          <p:cNvSpPr txBox="1"/>
          <p:nvPr userDrawn="1"/>
        </p:nvSpPr>
        <p:spPr bwMode="white">
          <a:xfrm>
            <a:off x="4810417" y="6717858"/>
            <a:ext cx="2815643"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87" spc="112"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332946342"/>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Box 7"/>
          <p:cNvSpPr txBox="1"/>
          <p:nvPr userDrawn="1"/>
        </p:nvSpPr>
        <p:spPr bwMode="white">
          <a:xfrm>
            <a:off x="4810417" y="6717858"/>
            <a:ext cx="2815643"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87" spc="112"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302976310"/>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4"/>
            <a:ext cx="11889564" cy="917575"/>
          </a:xfrm>
        </p:spPr>
        <p:txBody>
          <a:bodyPr/>
          <a:lstStyle>
            <a:lvl1pPr>
              <a:defRPr sz="5399" baseline="0"/>
            </a:lvl1pPr>
          </a:lstStyle>
          <a:p>
            <a:r>
              <a:rPr lang="en-US" smtClean="0"/>
              <a:t>Click to edit Master title style</a:t>
            </a:r>
            <a:endParaRPr lang="en-US" dirty="0"/>
          </a:p>
        </p:txBody>
      </p:sp>
      <p:sp>
        <p:nvSpPr>
          <p:cNvPr id="3" name="TextBox 7"/>
          <p:cNvSpPr txBox="1"/>
          <p:nvPr userDrawn="1"/>
        </p:nvSpPr>
        <p:spPr bwMode="white">
          <a:xfrm>
            <a:off x="4810417" y="6717858"/>
            <a:ext cx="2815643"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87" spc="112"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060506556"/>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4"/>
            <a:ext cx="8219814" cy="1828800"/>
          </a:xfrm>
        </p:spPr>
        <p:txBody>
          <a:bodyPr/>
          <a:lstStyle>
            <a:lvl1pPr>
              <a:defRPr sz="4500" baseline="0"/>
            </a:lvl1pPr>
          </a:lstStyle>
          <a:p>
            <a:r>
              <a:rPr lang="en-US" smtClean="0"/>
              <a:t>Click to edit Master title style</a:t>
            </a:r>
            <a:endParaRPr lang="en-US" dirty="0"/>
          </a:p>
        </p:txBody>
      </p:sp>
      <p:sp>
        <p:nvSpPr>
          <p:cNvPr id="3" name="TextBox 7"/>
          <p:cNvSpPr txBox="1"/>
          <p:nvPr userDrawn="1"/>
        </p:nvSpPr>
        <p:spPr bwMode="white">
          <a:xfrm>
            <a:off x="4810417" y="6717858"/>
            <a:ext cx="2815643"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87" spc="112"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951170737"/>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4"/>
            <a:ext cx="8219814" cy="1828800"/>
          </a:xfrm>
        </p:spPr>
        <p:txBody>
          <a:bodyPr/>
          <a:lstStyle>
            <a:lvl1pPr>
              <a:defRPr sz="4500" baseline="0"/>
            </a:lvl1pPr>
          </a:lstStyle>
          <a:p>
            <a:r>
              <a:rPr lang="en-US" smtClean="0"/>
              <a:t>Click to edit Master title style</a:t>
            </a:r>
            <a:endParaRPr lang="en-US" dirty="0"/>
          </a:p>
        </p:txBody>
      </p:sp>
      <p:sp>
        <p:nvSpPr>
          <p:cNvPr id="3" name="TextBox 7"/>
          <p:cNvSpPr txBox="1"/>
          <p:nvPr userDrawn="1"/>
        </p:nvSpPr>
        <p:spPr bwMode="white">
          <a:xfrm>
            <a:off x="4810417" y="6717858"/>
            <a:ext cx="2815643"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87" spc="112"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546503639"/>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315" indent="-287315">
              <a:spcBef>
                <a:spcPts val="1224"/>
              </a:spcBef>
              <a:buClr>
                <a:schemeClr val="tx2"/>
              </a:buClr>
              <a:buFont typeface="Wingdings" panose="05000000000000000000" pitchFamily="2" charset="2"/>
              <a:buChar char="§"/>
              <a:defRPr sz="3200">
                <a:gradFill>
                  <a:gsLst>
                    <a:gs pos="19469">
                      <a:schemeClr val="tx2"/>
                    </a:gs>
                    <a:gs pos="32000">
                      <a:schemeClr val="tx2"/>
                    </a:gs>
                  </a:gsLst>
                  <a:lin ang="5400000" scaled="0"/>
                </a:gradFill>
              </a:defRPr>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2425279"/>
          </a:xfrm>
        </p:spPr>
        <p:txBody>
          <a:bodyPr wrap="square">
            <a:spAutoFit/>
          </a:bodyPr>
          <a:lstStyle>
            <a:lvl1pPr marL="287315" indent="-287315">
              <a:spcBef>
                <a:spcPts val="1224"/>
              </a:spcBef>
              <a:buClr>
                <a:schemeClr val="tx2"/>
              </a:buClr>
              <a:buFont typeface="Wingdings" panose="05000000000000000000" pitchFamily="2" charset="2"/>
              <a:buChar char="§"/>
              <a:defRPr sz="3200">
                <a:gradFill>
                  <a:gsLst>
                    <a:gs pos="19469">
                      <a:schemeClr val="tx2"/>
                    </a:gs>
                    <a:gs pos="32000">
                      <a:schemeClr val="tx2"/>
                    </a:gs>
                  </a:gsLst>
                  <a:lin ang="5400000" scaled="0"/>
                </a:gradFill>
              </a:defRPr>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9946700"/>
      </p:ext>
    </p:extLst>
  </p:cSld>
  <p:clrMapOvr>
    <a:masterClrMapping/>
  </p:clrMapOvr>
  <p:transition>
    <p:fade/>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7"/>
            <a:ext cx="10058399" cy="917575"/>
          </a:xfrm>
        </p:spPr>
        <p:txBody>
          <a:bodyPr/>
          <a:lstStyle>
            <a:lvl1pPr marL="175007" indent="-175007">
              <a:defRPr sz="4500"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761038" y="5126039"/>
            <a:ext cx="5486400" cy="853033"/>
          </a:xfrm>
        </p:spPr>
        <p:txBody>
          <a:bodyPr/>
          <a:lstStyle>
            <a:lvl1pPr marL="0" indent="0">
              <a:spcBef>
                <a:spcPts val="0"/>
              </a:spcBef>
              <a:buNone/>
              <a:defRPr sz="2400" baseline="0">
                <a:latin typeface="+mj-lt"/>
              </a:defRPr>
            </a:lvl1pPr>
          </a:lstStyle>
          <a:p>
            <a:pPr lvl="0"/>
            <a:r>
              <a:rPr lang="en-US" dirty="0" smtClean="0"/>
              <a:t>Author Name</a:t>
            </a:r>
          </a:p>
          <a:p>
            <a:pPr lvl="0"/>
            <a:r>
              <a:rPr lang="en-US" dirty="0" smtClean="0"/>
              <a:t>Title</a:t>
            </a:r>
          </a:p>
        </p:txBody>
      </p:sp>
      <p:sp>
        <p:nvSpPr>
          <p:cNvPr id="5" name="TextBox 7"/>
          <p:cNvSpPr txBox="1"/>
          <p:nvPr userDrawn="1"/>
        </p:nvSpPr>
        <p:spPr bwMode="white">
          <a:xfrm>
            <a:off x="4810417" y="6717858"/>
            <a:ext cx="2815643"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87" spc="112"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490858122"/>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4"/>
            <a:ext cx="10058399" cy="917575"/>
          </a:xfrm>
        </p:spPr>
        <p:txBody>
          <a:bodyPr/>
          <a:lstStyle>
            <a:lvl1pPr marL="211912" indent="-211912">
              <a:tabLst>
                <a:tab pos="211912" algn="l"/>
              </a:tabLst>
              <a:defRPr sz="4500"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761038" y="4868848"/>
            <a:ext cx="5486400" cy="853033"/>
          </a:xfrm>
        </p:spPr>
        <p:txBody>
          <a:bodyPr/>
          <a:lstStyle>
            <a:lvl1pPr marL="0" indent="0">
              <a:spcBef>
                <a:spcPts val="0"/>
              </a:spcBef>
              <a:buNone/>
              <a:defRPr sz="2400" baseline="0">
                <a:latin typeface="+mj-lt"/>
              </a:defRPr>
            </a:lvl1pPr>
          </a:lstStyle>
          <a:p>
            <a:pPr lvl="0"/>
            <a:r>
              <a:rPr lang="en-US" dirty="0" smtClean="0"/>
              <a:t>Author’s Name</a:t>
            </a:r>
          </a:p>
          <a:p>
            <a:pPr lvl="0"/>
            <a:r>
              <a:rPr lang="en-US" dirty="0" smtClean="0"/>
              <a:t>Title</a:t>
            </a:r>
          </a:p>
        </p:txBody>
      </p:sp>
      <p:sp>
        <p:nvSpPr>
          <p:cNvPr id="5" name="TextBox 7"/>
          <p:cNvSpPr txBox="1"/>
          <p:nvPr userDrawn="1"/>
        </p:nvSpPr>
        <p:spPr bwMode="white">
          <a:xfrm>
            <a:off x="4810417" y="6717858"/>
            <a:ext cx="2815643"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87" spc="112"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765259403"/>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6" y="2430464"/>
            <a:ext cx="11887200" cy="749249"/>
          </a:xfrm>
        </p:spPr>
        <p:txBody>
          <a:bodyPr/>
          <a:lstStyle>
            <a:lvl1pPr marL="0" indent="0">
              <a:buNone/>
              <a:defRPr sz="4050">
                <a:gradFill>
                  <a:gsLst>
                    <a:gs pos="3333">
                      <a:schemeClr val="tx1"/>
                    </a:gs>
                    <a:gs pos="39000">
                      <a:schemeClr val="tx1"/>
                    </a:gs>
                  </a:gsLst>
                  <a:lin ang="5400000" scaled="0"/>
                </a:gradFill>
              </a:defRPr>
            </a:lvl1pPr>
            <a:lvl2pPr marL="0" indent="0">
              <a:buFontTx/>
              <a:buNone/>
              <a:defRPr sz="1500"/>
            </a:lvl2pPr>
            <a:lvl3pPr marL="171435" indent="0">
              <a:buNone/>
              <a:defRPr/>
            </a:lvl3pPr>
            <a:lvl4pPr marL="342869" indent="0">
              <a:buNone/>
              <a:defRPr/>
            </a:lvl4pPr>
            <a:lvl5pPr marL="514304" indent="0">
              <a:buNone/>
              <a:defRPr/>
            </a:lvl5pPr>
          </a:lstStyle>
          <a:p>
            <a:pPr lvl="0"/>
            <a:r>
              <a:rPr lang="en-US" smtClean="0"/>
              <a:t>Click to edit Master text styles</a:t>
            </a:r>
          </a:p>
        </p:txBody>
      </p:sp>
      <p:sp>
        <p:nvSpPr>
          <p:cNvPr id="4" name="Title 1"/>
          <p:cNvSpPr>
            <a:spLocks noGrp="1"/>
          </p:cNvSpPr>
          <p:nvPr>
            <p:ph type="title"/>
          </p:nvPr>
        </p:nvSpPr>
        <p:spPr>
          <a:xfrm>
            <a:off x="282576" y="1211264"/>
            <a:ext cx="11889564" cy="917575"/>
          </a:xfrm>
        </p:spPr>
        <p:txBody>
          <a:bodyPr/>
          <a:lstStyle>
            <a:lvl1pPr>
              <a:defRPr sz="5399"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
        <p:nvSpPr>
          <p:cNvPr id="5" name="TextBox 7"/>
          <p:cNvSpPr txBox="1"/>
          <p:nvPr userDrawn="1"/>
        </p:nvSpPr>
        <p:spPr bwMode="white">
          <a:xfrm>
            <a:off x="4810417" y="6717858"/>
            <a:ext cx="2815643"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87" spc="112"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46742856"/>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1798637"/>
          </a:xfrm>
        </p:spPr>
        <p:txBody>
          <a:bodyPr/>
          <a:lstStyle>
            <a:lvl1pPr>
              <a:defRPr sz="4950"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219826" y="0"/>
            <a:ext cx="6216650" cy="6992587"/>
          </a:xfrm>
          <a:blipFill>
            <a:blip r:embed="rId2"/>
            <a:stretch>
              <a:fillRect/>
            </a:stretch>
          </a:blipFill>
        </p:spPr>
        <p:txBody>
          <a:bodyPr tIns="548640" anchor="ctr" anchorCtr="0">
            <a:noAutofit/>
          </a:bodyPr>
          <a:lstStyle>
            <a:lvl1pPr marL="0" indent="0" algn="ctr">
              <a:buNone/>
              <a:defRPr sz="1199"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2349984224"/>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675441" y="1241427"/>
            <a:ext cx="5486399" cy="917575"/>
          </a:xfrm>
        </p:spPr>
        <p:txBody>
          <a:bodyPr/>
          <a:lstStyle>
            <a:lvl1pPr>
              <a:defRPr sz="4950"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
        <p:nvSpPr>
          <p:cNvPr id="4" name="Picture Placeholder 4"/>
          <p:cNvSpPr>
            <a:spLocks noGrp="1"/>
          </p:cNvSpPr>
          <p:nvPr>
            <p:ph type="pic" sz="quarter" idx="10"/>
          </p:nvPr>
        </p:nvSpPr>
        <p:spPr bwMode="ltGray">
          <a:xfrm>
            <a:off x="1" y="0"/>
            <a:ext cx="6216650" cy="6988560"/>
          </a:xfrm>
          <a:blipFill>
            <a:blip r:embed="rId2"/>
            <a:stretch>
              <a:fillRect/>
            </a:stretch>
          </a:blipFill>
        </p:spPr>
        <p:txBody>
          <a:bodyPr tIns="548640" anchor="ctr" anchorCtr="0">
            <a:noAutofit/>
          </a:bodyPr>
          <a:lstStyle>
            <a:lvl1pPr marL="0" indent="0" algn="ctr">
              <a:buNone/>
              <a:defRPr sz="1049" b="1">
                <a:gradFill>
                  <a:gsLst>
                    <a:gs pos="13139">
                      <a:srgbClr val="FFFFFF"/>
                    </a:gs>
                    <a:gs pos="38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3065855458"/>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810417" y="6717858"/>
            <a:ext cx="2815643"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87" spc="112"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897998815"/>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810417" y="6717858"/>
            <a:ext cx="2815643"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87" spc="112"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219298021"/>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810417" y="6717858"/>
            <a:ext cx="2815643" cy="12112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87" spc="112"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786676552"/>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1882572"/>
          </a:xfrm>
          <a:prstGeom prst="rect">
            <a:avLst/>
          </a:prstGeom>
        </p:spPr>
        <p:txBody>
          <a:bodyPr/>
          <a:lstStyle>
            <a:lvl1pPr marL="217865" indent="-217865">
              <a:buClr>
                <a:schemeClr val="tx1"/>
              </a:buClr>
              <a:buSzPct val="90000"/>
              <a:buFont typeface="Wingdings" panose="05000000000000000000" pitchFamily="2" charset="2"/>
              <a:buChar char="§"/>
              <a:defRPr sz="27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8586" indent="-210722">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46451" indent="-217865">
              <a:buClr>
                <a:schemeClr val="tx1"/>
              </a:buClr>
              <a:buSzPct val="90000"/>
              <a:buFont typeface="Wingdings" panose="05000000000000000000" pitchFamily="2" charset="2"/>
              <a:buChar char="§"/>
              <a:defRPr sz="21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17886" indent="-171435">
              <a:buClr>
                <a:schemeClr val="tx1"/>
              </a:buClr>
              <a:buSzPct val="90000"/>
              <a:buFont typeface="Wingdings" panose="05000000000000000000" pitchFamily="2" charset="2"/>
              <a:buChar char="§"/>
              <a:defRPr sz="18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89320" indent="-171435">
              <a:buClr>
                <a:schemeClr val="tx1"/>
              </a:buClr>
              <a:buSzPct val="90000"/>
              <a:buFont typeface="Wingdings" panose="05000000000000000000" pitchFamily="2" charset="2"/>
              <a:buChar char="§"/>
              <a:defRPr sz="15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2775" spc="-3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28815193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4_Blank Color 1 Layout">
    <p:bg>
      <p:bgPr>
        <a:solidFill>
          <a:schemeClr val="accent5"/>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23182" y="1803684"/>
            <a:ext cx="11456578" cy="1139013"/>
          </a:xfrm>
        </p:spPr>
        <p:txBody>
          <a:bodyPr/>
          <a:lstStyle>
            <a:lvl1pPr marL="0" indent="0">
              <a:buNone/>
              <a:defRPr lang="en-US" sz="6730" i="0" kern="1200" spc="-76"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99269"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4" name="Text Placeholder 8"/>
          <p:cNvSpPr>
            <a:spLocks noGrp="1"/>
          </p:cNvSpPr>
          <p:nvPr>
            <p:ph type="body" sz="quarter" idx="11" hasCustomPrompt="1"/>
          </p:nvPr>
        </p:nvSpPr>
        <p:spPr>
          <a:xfrm>
            <a:off x="523184" y="3283257"/>
            <a:ext cx="7666297" cy="534159"/>
          </a:xfrm>
        </p:spPr>
        <p:txBody>
          <a:bodyPr/>
          <a:lstStyle>
            <a:lvl1pPr marL="0" indent="0">
              <a:buNone/>
              <a:defRPr lang="en-US" sz="2448" kern="1200" spc="-76"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699269" rtl="0" eaLnBrk="1" latinLnBrk="0" hangingPunct="1">
              <a:lnSpc>
                <a:spcPct val="90000"/>
              </a:lnSpc>
              <a:spcBef>
                <a:spcPct val="20000"/>
              </a:spcBef>
              <a:buSzPct val="90000"/>
              <a:buFont typeface="Arial" pitchFamily="34" charset="0"/>
              <a:buNone/>
            </a:pPr>
            <a:r>
              <a:rPr lang="en-US" dirty="0" smtClean="0"/>
              <a:t>Speaker Title</a:t>
            </a:r>
            <a:endParaRPr lang="en-US" dirty="0"/>
          </a:p>
        </p:txBody>
      </p:sp>
    </p:spTree>
    <p:extLst>
      <p:ext uri="{BB962C8B-B14F-4D97-AF65-F5344CB8AC3E}">
        <p14:creationId xmlns:p14="http://schemas.microsoft.com/office/powerpoint/2010/main" val="2539832149"/>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slideLayout" Target="../slideLayouts/slideLayout40.xml"/><Relationship Id="rId18" Type="http://schemas.openxmlformats.org/officeDocument/2006/relationships/slideLayout" Target="../slideLayouts/slideLayout45.xml"/><Relationship Id="rId26" Type="http://schemas.openxmlformats.org/officeDocument/2006/relationships/slideLayout" Target="../slideLayouts/slideLayout53.xml"/><Relationship Id="rId3" Type="http://schemas.openxmlformats.org/officeDocument/2006/relationships/slideLayout" Target="../slideLayouts/slideLayout30.xml"/><Relationship Id="rId21" Type="http://schemas.openxmlformats.org/officeDocument/2006/relationships/slideLayout" Target="../slideLayouts/slideLayout48.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17" Type="http://schemas.openxmlformats.org/officeDocument/2006/relationships/slideLayout" Target="../slideLayouts/slideLayout44.xml"/><Relationship Id="rId25" Type="http://schemas.openxmlformats.org/officeDocument/2006/relationships/slideLayout" Target="../slideLayouts/slideLayout52.xml"/><Relationship Id="rId2" Type="http://schemas.openxmlformats.org/officeDocument/2006/relationships/slideLayout" Target="../slideLayouts/slideLayout29.xml"/><Relationship Id="rId16" Type="http://schemas.openxmlformats.org/officeDocument/2006/relationships/slideLayout" Target="../slideLayouts/slideLayout43.xml"/><Relationship Id="rId20" Type="http://schemas.openxmlformats.org/officeDocument/2006/relationships/slideLayout" Target="../slideLayouts/slideLayout47.xml"/><Relationship Id="rId29" Type="http://schemas.openxmlformats.org/officeDocument/2006/relationships/slideLayout" Target="../slideLayouts/slideLayout56.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24" Type="http://schemas.openxmlformats.org/officeDocument/2006/relationships/slideLayout" Target="../slideLayouts/slideLayout51.xml"/><Relationship Id="rId5" Type="http://schemas.openxmlformats.org/officeDocument/2006/relationships/slideLayout" Target="../slideLayouts/slideLayout32.xml"/><Relationship Id="rId15" Type="http://schemas.openxmlformats.org/officeDocument/2006/relationships/slideLayout" Target="../slideLayouts/slideLayout42.xml"/><Relationship Id="rId23" Type="http://schemas.openxmlformats.org/officeDocument/2006/relationships/slideLayout" Target="../slideLayouts/slideLayout50.xml"/><Relationship Id="rId28" Type="http://schemas.openxmlformats.org/officeDocument/2006/relationships/slideLayout" Target="../slideLayouts/slideLayout55.xml"/><Relationship Id="rId10" Type="http://schemas.openxmlformats.org/officeDocument/2006/relationships/slideLayout" Target="../slideLayouts/slideLayout37.xml"/><Relationship Id="rId19" Type="http://schemas.openxmlformats.org/officeDocument/2006/relationships/slideLayout" Target="../slideLayouts/slideLayout46.xml"/><Relationship Id="rId31" Type="http://schemas.openxmlformats.org/officeDocument/2006/relationships/image" Target="../media/image1.png"/><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 Id="rId22" Type="http://schemas.openxmlformats.org/officeDocument/2006/relationships/slideLayout" Target="../slideLayouts/slideLayout49.xml"/><Relationship Id="rId27" Type="http://schemas.openxmlformats.org/officeDocument/2006/relationships/slideLayout" Target="../slideLayouts/slideLayout54.xml"/><Relationship Id="rId30"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slideLayout" Target="../slideLayouts/slideLayout69.xml"/><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slideLayout" Target="../slideLayouts/slideLayout68.xml"/><Relationship Id="rId17" Type="http://schemas.openxmlformats.org/officeDocument/2006/relationships/theme" Target="../theme/theme3.xml"/><Relationship Id="rId2" Type="http://schemas.openxmlformats.org/officeDocument/2006/relationships/slideLayout" Target="../slideLayouts/slideLayout58.xml"/><Relationship Id="rId16" Type="http://schemas.openxmlformats.org/officeDocument/2006/relationships/slideLayout" Target="../slideLayouts/slideLayout72.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5" Type="http://schemas.openxmlformats.org/officeDocument/2006/relationships/slideLayout" Target="../slideLayouts/slideLayout71.xml"/><Relationship Id="rId10" Type="http://schemas.openxmlformats.org/officeDocument/2006/relationships/slideLayout" Target="../slideLayouts/slideLayout66.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slideLayout" Target="../slideLayouts/slideLayout70.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85.xml"/><Relationship Id="rId18" Type="http://schemas.openxmlformats.org/officeDocument/2006/relationships/slideLayout" Target="../slideLayouts/slideLayout90.xml"/><Relationship Id="rId26" Type="http://schemas.openxmlformats.org/officeDocument/2006/relationships/slideLayout" Target="../slideLayouts/slideLayout98.xml"/><Relationship Id="rId39" Type="http://schemas.openxmlformats.org/officeDocument/2006/relationships/slideLayout" Target="../slideLayouts/slideLayout111.xml"/><Relationship Id="rId21" Type="http://schemas.openxmlformats.org/officeDocument/2006/relationships/slideLayout" Target="../slideLayouts/slideLayout93.xml"/><Relationship Id="rId34" Type="http://schemas.openxmlformats.org/officeDocument/2006/relationships/slideLayout" Target="../slideLayouts/slideLayout106.xml"/><Relationship Id="rId42" Type="http://schemas.openxmlformats.org/officeDocument/2006/relationships/slideLayout" Target="../slideLayouts/slideLayout114.xml"/><Relationship Id="rId7" Type="http://schemas.openxmlformats.org/officeDocument/2006/relationships/slideLayout" Target="../slideLayouts/slideLayout79.xml"/><Relationship Id="rId2" Type="http://schemas.openxmlformats.org/officeDocument/2006/relationships/slideLayout" Target="../slideLayouts/slideLayout74.xml"/><Relationship Id="rId16" Type="http://schemas.openxmlformats.org/officeDocument/2006/relationships/slideLayout" Target="../slideLayouts/slideLayout88.xml"/><Relationship Id="rId20" Type="http://schemas.openxmlformats.org/officeDocument/2006/relationships/slideLayout" Target="../slideLayouts/slideLayout92.xml"/><Relationship Id="rId29" Type="http://schemas.openxmlformats.org/officeDocument/2006/relationships/slideLayout" Target="../slideLayouts/slideLayout101.xml"/><Relationship Id="rId41" Type="http://schemas.openxmlformats.org/officeDocument/2006/relationships/slideLayout" Target="../slideLayouts/slideLayout113.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24" Type="http://schemas.openxmlformats.org/officeDocument/2006/relationships/slideLayout" Target="../slideLayouts/slideLayout96.xml"/><Relationship Id="rId32" Type="http://schemas.openxmlformats.org/officeDocument/2006/relationships/slideLayout" Target="../slideLayouts/slideLayout104.xml"/><Relationship Id="rId37" Type="http://schemas.openxmlformats.org/officeDocument/2006/relationships/slideLayout" Target="../slideLayouts/slideLayout109.xml"/><Relationship Id="rId40" Type="http://schemas.openxmlformats.org/officeDocument/2006/relationships/slideLayout" Target="../slideLayouts/slideLayout112.xml"/><Relationship Id="rId5" Type="http://schemas.openxmlformats.org/officeDocument/2006/relationships/slideLayout" Target="../slideLayouts/slideLayout77.xml"/><Relationship Id="rId15" Type="http://schemas.openxmlformats.org/officeDocument/2006/relationships/slideLayout" Target="../slideLayouts/slideLayout87.xml"/><Relationship Id="rId23" Type="http://schemas.openxmlformats.org/officeDocument/2006/relationships/slideLayout" Target="../slideLayouts/slideLayout95.xml"/><Relationship Id="rId28" Type="http://schemas.openxmlformats.org/officeDocument/2006/relationships/slideLayout" Target="../slideLayouts/slideLayout100.xml"/><Relationship Id="rId36" Type="http://schemas.openxmlformats.org/officeDocument/2006/relationships/slideLayout" Target="../slideLayouts/slideLayout108.xml"/><Relationship Id="rId10" Type="http://schemas.openxmlformats.org/officeDocument/2006/relationships/slideLayout" Target="../slideLayouts/slideLayout82.xml"/><Relationship Id="rId19" Type="http://schemas.openxmlformats.org/officeDocument/2006/relationships/slideLayout" Target="../slideLayouts/slideLayout91.xml"/><Relationship Id="rId31" Type="http://schemas.openxmlformats.org/officeDocument/2006/relationships/slideLayout" Target="../slideLayouts/slideLayout103.xml"/><Relationship Id="rId44" Type="http://schemas.openxmlformats.org/officeDocument/2006/relationships/image" Target="../media/image1.png"/><Relationship Id="rId4" Type="http://schemas.openxmlformats.org/officeDocument/2006/relationships/slideLayout" Target="../slideLayouts/slideLayout76.xml"/><Relationship Id="rId9" Type="http://schemas.openxmlformats.org/officeDocument/2006/relationships/slideLayout" Target="../slideLayouts/slideLayout81.xml"/><Relationship Id="rId14" Type="http://schemas.openxmlformats.org/officeDocument/2006/relationships/slideLayout" Target="../slideLayouts/slideLayout86.xml"/><Relationship Id="rId22" Type="http://schemas.openxmlformats.org/officeDocument/2006/relationships/slideLayout" Target="../slideLayouts/slideLayout94.xml"/><Relationship Id="rId27" Type="http://schemas.openxmlformats.org/officeDocument/2006/relationships/slideLayout" Target="../slideLayouts/slideLayout99.xml"/><Relationship Id="rId30" Type="http://schemas.openxmlformats.org/officeDocument/2006/relationships/slideLayout" Target="../slideLayouts/slideLayout102.xml"/><Relationship Id="rId35" Type="http://schemas.openxmlformats.org/officeDocument/2006/relationships/slideLayout" Target="../slideLayouts/slideLayout107.xml"/><Relationship Id="rId43" Type="http://schemas.openxmlformats.org/officeDocument/2006/relationships/theme" Target="../theme/theme4.xml"/><Relationship Id="rId8" Type="http://schemas.openxmlformats.org/officeDocument/2006/relationships/slideLayout" Target="../slideLayouts/slideLayout80.xml"/><Relationship Id="rId3" Type="http://schemas.openxmlformats.org/officeDocument/2006/relationships/slideLayout" Target="../slideLayouts/slideLayout75.xml"/><Relationship Id="rId12" Type="http://schemas.openxmlformats.org/officeDocument/2006/relationships/slideLayout" Target="../slideLayouts/slideLayout84.xml"/><Relationship Id="rId17" Type="http://schemas.openxmlformats.org/officeDocument/2006/relationships/slideLayout" Target="../slideLayouts/slideLayout89.xml"/><Relationship Id="rId25" Type="http://schemas.openxmlformats.org/officeDocument/2006/relationships/slideLayout" Target="../slideLayouts/slideLayout97.xml"/><Relationship Id="rId33" Type="http://schemas.openxmlformats.org/officeDocument/2006/relationships/slideLayout" Target="../slideLayouts/slideLayout105.xml"/><Relationship Id="rId38" Type="http://schemas.openxmlformats.org/officeDocument/2006/relationships/slideLayout" Target="../slideLayouts/slideLayout11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2"/>
            <a:ext cx="11887198" cy="2092881"/>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29"/>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588427678"/>
      </p:ext>
    </p:extLst>
  </p:cSld>
  <p:clrMap bg1="dk1" tx1="lt1" bg2="dk2" tx2="lt2" accent1="accent1" accent2="accent2" accent3="accent3" accent4="accent4" accent5="accent5" accent6="accent6" hlink="hlink" folHlink="folHlink"/>
  <p:sldLayoutIdLst>
    <p:sldLayoutId id="2147484269" r:id="rId1"/>
    <p:sldLayoutId id="2147484236" r:id="rId2"/>
    <p:sldLayoutId id="2147484240" r:id="rId3"/>
    <p:sldLayoutId id="2147484272" r:id="rId4"/>
    <p:sldLayoutId id="2147484241" r:id="rId5"/>
    <p:sldLayoutId id="2147484273" r:id="rId6"/>
    <p:sldLayoutId id="2147484244" r:id="rId7"/>
    <p:sldLayoutId id="2147484274" r:id="rId8"/>
    <p:sldLayoutId id="2147484245" r:id="rId9"/>
    <p:sldLayoutId id="2147484275" r:id="rId10"/>
    <p:sldLayoutId id="2147484247" r:id="rId11"/>
    <p:sldLayoutId id="2147484249" r:id="rId12"/>
    <p:sldLayoutId id="2147484250" r:id="rId13"/>
    <p:sldLayoutId id="2147484264" r:id="rId14"/>
    <p:sldLayoutId id="2147484251" r:id="rId15"/>
    <p:sldLayoutId id="2147484270" r:id="rId16"/>
    <p:sldLayoutId id="2147484252" r:id="rId17"/>
    <p:sldLayoutId id="2147484253" r:id="rId18"/>
    <p:sldLayoutId id="2147484254" r:id="rId19"/>
    <p:sldLayoutId id="2147484271" r:id="rId20"/>
    <p:sldLayoutId id="2147484257" r:id="rId21"/>
    <p:sldLayoutId id="2147484258" r:id="rId22"/>
    <p:sldLayoutId id="2147484259" r:id="rId23"/>
    <p:sldLayoutId id="2147484260" r:id="rId24"/>
    <p:sldLayoutId id="2147484261" r:id="rId25"/>
    <p:sldLayoutId id="2147484263" r:id="rId26"/>
    <p:sldLayoutId id="2147484276" r:id="rId27"/>
  </p:sldLayoutIdLst>
  <p:transition>
    <p:fade/>
  </p:transition>
  <p:timing>
    <p:tnLst>
      <p:par>
        <p:cTn id="1" dur="indefinite" restart="never" nodeType="tmRoot"/>
      </p:par>
    </p:tnLst>
  </p:timing>
  <p:txStyles>
    <p:titleStyle>
      <a:lvl1pPr algn="l" defTabSz="932667"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73" marR="0" indent="-342873"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154" marR="0" indent="-241281"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036"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618"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199"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67" rtl="0" eaLnBrk="1" latinLnBrk="0" hangingPunct="1">
        <a:defRPr sz="1800" kern="1200">
          <a:solidFill>
            <a:schemeClr val="tx1"/>
          </a:solidFill>
          <a:latin typeface="+mn-lt"/>
          <a:ea typeface="+mn-ea"/>
          <a:cs typeface="+mn-cs"/>
        </a:defRPr>
      </a:lvl1pPr>
      <a:lvl2pPr marL="466334" algn="l" defTabSz="932667" rtl="0" eaLnBrk="1" latinLnBrk="0" hangingPunct="1">
        <a:defRPr sz="1800" kern="1200">
          <a:solidFill>
            <a:schemeClr val="tx1"/>
          </a:solidFill>
          <a:latin typeface="+mn-lt"/>
          <a:ea typeface="+mn-ea"/>
          <a:cs typeface="+mn-cs"/>
        </a:defRPr>
      </a:lvl2pPr>
      <a:lvl3pPr marL="932667" algn="l" defTabSz="932667" rtl="0" eaLnBrk="1" latinLnBrk="0" hangingPunct="1">
        <a:defRPr sz="1800" kern="1200">
          <a:solidFill>
            <a:schemeClr val="tx1"/>
          </a:solidFill>
          <a:latin typeface="+mn-lt"/>
          <a:ea typeface="+mn-ea"/>
          <a:cs typeface="+mn-cs"/>
        </a:defRPr>
      </a:lvl3pPr>
      <a:lvl4pPr marL="1399001" algn="l" defTabSz="932667" rtl="0" eaLnBrk="1" latinLnBrk="0" hangingPunct="1">
        <a:defRPr sz="1800" kern="1200">
          <a:solidFill>
            <a:schemeClr val="tx1"/>
          </a:solidFill>
          <a:latin typeface="+mn-lt"/>
          <a:ea typeface="+mn-ea"/>
          <a:cs typeface="+mn-cs"/>
        </a:defRPr>
      </a:lvl4pPr>
      <a:lvl5pPr marL="1865334" algn="l" defTabSz="932667" rtl="0" eaLnBrk="1" latinLnBrk="0" hangingPunct="1">
        <a:defRPr sz="1800" kern="1200">
          <a:solidFill>
            <a:schemeClr val="tx1"/>
          </a:solidFill>
          <a:latin typeface="+mn-lt"/>
          <a:ea typeface="+mn-ea"/>
          <a:cs typeface="+mn-cs"/>
        </a:defRPr>
      </a:lvl5pPr>
      <a:lvl6pPr marL="2331670" algn="l" defTabSz="932667" rtl="0" eaLnBrk="1" latinLnBrk="0" hangingPunct="1">
        <a:defRPr sz="1800" kern="1200">
          <a:solidFill>
            <a:schemeClr val="tx1"/>
          </a:solidFill>
          <a:latin typeface="+mn-lt"/>
          <a:ea typeface="+mn-ea"/>
          <a:cs typeface="+mn-cs"/>
        </a:defRPr>
      </a:lvl6pPr>
      <a:lvl7pPr marL="2798002" algn="l" defTabSz="932667" rtl="0" eaLnBrk="1" latinLnBrk="0" hangingPunct="1">
        <a:defRPr sz="1800" kern="1200">
          <a:solidFill>
            <a:schemeClr val="tx1"/>
          </a:solidFill>
          <a:latin typeface="+mn-lt"/>
          <a:ea typeface="+mn-ea"/>
          <a:cs typeface="+mn-cs"/>
        </a:defRPr>
      </a:lvl7pPr>
      <a:lvl8pPr marL="3264336" algn="l" defTabSz="932667" rtl="0" eaLnBrk="1" latinLnBrk="0" hangingPunct="1">
        <a:defRPr sz="1800" kern="1200">
          <a:solidFill>
            <a:schemeClr val="tx1"/>
          </a:solidFill>
          <a:latin typeface="+mn-lt"/>
          <a:ea typeface="+mn-ea"/>
          <a:cs typeface="+mn-cs"/>
        </a:defRPr>
      </a:lvl8pPr>
      <a:lvl9pPr marL="3730670" algn="l" defTabSz="93266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49" userDrawn="1">
          <p15:clr>
            <a:srgbClr val="5ACBF0"/>
          </p15:clr>
        </p15:guide>
        <p15:guide id="4" pos="1325" userDrawn="1">
          <p15:clr>
            <a:srgbClr val="5ACBF0"/>
          </p15:clr>
        </p15:guide>
        <p15:guide id="5" pos="1901" userDrawn="1">
          <p15:clr>
            <a:srgbClr val="5ACBF0"/>
          </p15:clr>
        </p15:guide>
        <p15:guide id="6" pos="2477" userDrawn="1">
          <p15:clr>
            <a:srgbClr val="5ACBF0"/>
          </p15:clr>
        </p15:guide>
        <p15:guide id="7" pos="3053" userDrawn="1">
          <p15:clr>
            <a:srgbClr val="5ACBF0"/>
          </p15:clr>
        </p15:guide>
        <p15:guide id="8" pos="3629" userDrawn="1">
          <p15:clr>
            <a:srgbClr val="5ACBF0"/>
          </p15:clr>
        </p15:guide>
        <p15:guide id="9" pos="4205" userDrawn="1">
          <p15:clr>
            <a:srgbClr val="5ACBF0"/>
          </p15:clr>
        </p15:guide>
        <p15:guide id="10" pos="4781" userDrawn="1">
          <p15:clr>
            <a:srgbClr val="5ACBF0"/>
          </p15:clr>
        </p15:guide>
        <p15:guide id="11" pos="5357" userDrawn="1">
          <p15:clr>
            <a:srgbClr val="5ACBF0"/>
          </p15:clr>
        </p15:guide>
        <p15:guide id="12" pos="5933" userDrawn="1">
          <p15:clr>
            <a:srgbClr val="5ACBF0"/>
          </p15:clr>
        </p15:guide>
        <p15:guide id="13" pos="6509" userDrawn="1">
          <p15:clr>
            <a:srgbClr val="5ACBF0"/>
          </p15:clr>
        </p15:guide>
        <p15:guide id="14" pos="7085" userDrawn="1">
          <p15:clr>
            <a:srgbClr val="5ACBF0"/>
          </p15:clr>
        </p15:guide>
        <p15:guide id="15" pos="7661" userDrawn="1">
          <p15:clr>
            <a:srgbClr val="5ACBF0"/>
          </p15:clr>
        </p15:guide>
        <p15:guide id="16" pos="288" userDrawn="1">
          <p15:clr>
            <a:srgbClr val="C35EA4"/>
          </p15:clr>
        </p15:guide>
        <p15:guide id="17" pos="7546" userDrawn="1">
          <p15:clr>
            <a:srgbClr val="C35EA4"/>
          </p15:clr>
        </p15:guide>
        <p15:guide id="18" orient="horz" pos="763" userDrawn="1">
          <p15:clr>
            <a:srgbClr val="5ACBF0"/>
          </p15:clr>
        </p15:guide>
        <p15:guide id="19" orient="horz" pos="1339" userDrawn="1">
          <p15:clr>
            <a:srgbClr val="5ACBF0"/>
          </p15:clr>
        </p15:guide>
        <p15:guide id="20" orient="horz" pos="1915" userDrawn="1">
          <p15:clr>
            <a:srgbClr val="5ACBF0"/>
          </p15:clr>
        </p15:guide>
        <p15:guide id="21" orient="horz" pos="2491" userDrawn="1">
          <p15:clr>
            <a:srgbClr val="5ACBF0"/>
          </p15:clr>
        </p15:guide>
        <p15:guide id="22" orient="horz" pos="3067" userDrawn="1">
          <p15:clr>
            <a:srgbClr val="5ACBF0"/>
          </p15:clr>
        </p15:guide>
        <p15:guide id="23" orient="horz" pos="3643" userDrawn="1">
          <p15:clr>
            <a:srgbClr val="5ACBF0"/>
          </p15:clr>
        </p15:guide>
        <p15:guide id="24" orient="horz" pos="4219" userDrawn="1">
          <p15:clr>
            <a:srgbClr val="5ACBF0"/>
          </p15:clr>
        </p15:guide>
        <p15:guide id="25" orient="horz" pos="302" userDrawn="1">
          <p15:clr>
            <a:srgbClr val="C35EA4"/>
          </p15:clr>
        </p15:guide>
        <p15:guide id="26" orient="horz" pos="4104" userDrawn="1">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2"/>
            <a:ext cx="11887198" cy="2092881"/>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31"/>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864419737"/>
      </p:ext>
    </p:extLst>
  </p:cSld>
  <p:clrMap bg1="dk1" tx1="lt1" bg2="dk2" tx2="lt2" accent1="accent1" accent2="accent2" accent3="accent3" accent4="accent4" accent5="accent5" accent6="accent6" hlink="hlink" folHlink="folHlink"/>
  <p:sldLayoutIdLst>
    <p:sldLayoutId id="2147484278" r:id="rId1"/>
    <p:sldLayoutId id="2147484279" r:id="rId2"/>
    <p:sldLayoutId id="2147484280" r:id="rId3"/>
    <p:sldLayoutId id="2147484281" r:id="rId4"/>
    <p:sldLayoutId id="2147484282" r:id="rId5"/>
    <p:sldLayoutId id="2147484283" r:id="rId6"/>
    <p:sldLayoutId id="2147484284" r:id="rId7"/>
    <p:sldLayoutId id="2147484285" r:id="rId8"/>
    <p:sldLayoutId id="2147484286" r:id="rId9"/>
    <p:sldLayoutId id="2147484287" r:id="rId10"/>
    <p:sldLayoutId id="2147484288" r:id="rId11"/>
    <p:sldLayoutId id="2147484289" r:id="rId12"/>
    <p:sldLayoutId id="2147484290" r:id="rId13"/>
    <p:sldLayoutId id="2147484291" r:id="rId14"/>
    <p:sldLayoutId id="2147484292" r:id="rId15"/>
    <p:sldLayoutId id="2147484293" r:id="rId16"/>
    <p:sldLayoutId id="2147484294" r:id="rId17"/>
    <p:sldLayoutId id="2147484295" r:id="rId18"/>
    <p:sldLayoutId id="2147484296" r:id="rId19"/>
    <p:sldLayoutId id="2147484297" r:id="rId20"/>
    <p:sldLayoutId id="2147484298" r:id="rId21"/>
    <p:sldLayoutId id="2147484299" r:id="rId22"/>
    <p:sldLayoutId id="2147484300" r:id="rId23"/>
    <p:sldLayoutId id="2147484301" r:id="rId24"/>
    <p:sldLayoutId id="2147484302" r:id="rId25"/>
    <p:sldLayoutId id="2147484303" r:id="rId26"/>
    <p:sldLayoutId id="2147484304" r:id="rId27"/>
    <p:sldLayoutId id="2147484305" r:id="rId28"/>
    <p:sldLayoutId id="2147484306" r:id="rId29"/>
  </p:sldLayoutIdLst>
  <p:transition>
    <p:fade/>
  </p:transition>
  <p:timing>
    <p:tnLst>
      <p:par>
        <p:cTn id="1" dur="indefinite" restart="never" nodeType="tmRoot"/>
      </p:par>
    </p:tnLst>
  </p:timing>
  <p:txStyles>
    <p:titleStyle>
      <a:lvl1pPr algn="l" defTabSz="932667"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73" marR="0" indent="-342873"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154" marR="0" indent="-241281"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036"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618"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199"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67" rtl="0" eaLnBrk="1" latinLnBrk="0" hangingPunct="1">
        <a:defRPr sz="1800" kern="1200">
          <a:solidFill>
            <a:schemeClr val="tx1"/>
          </a:solidFill>
          <a:latin typeface="+mn-lt"/>
          <a:ea typeface="+mn-ea"/>
          <a:cs typeface="+mn-cs"/>
        </a:defRPr>
      </a:lvl1pPr>
      <a:lvl2pPr marL="466334" algn="l" defTabSz="932667" rtl="0" eaLnBrk="1" latinLnBrk="0" hangingPunct="1">
        <a:defRPr sz="1800" kern="1200">
          <a:solidFill>
            <a:schemeClr val="tx1"/>
          </a:solidFill>
          <a:latin typeface="+mn-lt"/>
          <a:ea typeface="+mn-ea"/>
          <a:cs typeface="+mn-cs"/>
        </a:defRPr>
      </a:lvl2pPr>
      <a:lvl3pPr marL="932667" algn="l" defTabSz="932667" rtl="0" eaLnBrk="1" latinLnBrk="0" hangingPunct="1">
        <a:defRPr sz="1800" kern="1200">
          <a:solidFill>
            <a:schemeClr val="tx1"/>
          </a:solidFill>
          <a:latin typeface="+mn-lt"/>
          <a:ea typeface="+mn-ea"/>
          <a:cs typeface="+mn-cs"/>
        </a:defRPr>
      </a:lvl3pPr>
      <a:lvl4pPr marL="1399001" algn="l" defTabSz="932667" rtl="0" eaLnBrk="1" latinLnBrk="0" hangingPunct="1">
        <a:defRPr sz="1800" kern="1200">
          <a:solidFill>
            <a:schemeClr val="tx1"/>
          </a:solidFill>
          <a:latin typeface="+mn-lt"/>
          <a:ea typeface="+mn-ea"/>
          <a:cs typeface="+mn-cs"/>
        </a:defRPr>
      </a:lvl4pPr>
      <a:lvl5pPr marL="1865334" algn="l" defTabSz="932667" rtl="0" eaLnBrk="1" latinLnBrk="0" hangingPunct="1">
        <a:defRPr sz="1800" kern="1200">
          <a:solidFill>
            <a:schemeClr val="tx1"/>
          </a:solidFill>
          <a:latin typeface="+mn-lt"/>
          <a:ea typeface="+mn-ea"/>
          <a:cs typeface="+mn-cs"/>
        </a:defRPr>
      </a:lvl5pPr>
      <a:lvl6pPr marL="2331670" algn="l" defTabSz="932667" rtl="0" eaLnBrk="1" latinLnBrk="0" hangingPunct="1">
        <a:defRPr sz="1800" kern="1200">
          <a:solidFill>
            <a:schemeClr val="tx1"/>
          </a:solidFill>
          <a:latin typeface="+mn-lt"/>
          <a:ea typeface="+mn-ea"/>
          <a:cs typeface="+mn-cs"/>
        </a:defRPr>
      </a:lvl6pPr>
      <a:lvl7pPr marL="2798002" algn="l" defTabSz="932667" rtl="0" eaLnBrk="1" latinLnBrk="0" hangingPunct="1">
        <a:defRPr sz="1800" kern="1200">
          <a:solidFill>
            <a:schemeClr val="tx1"/>
          </a:solidFill>
          <a:latin typeface="+mn-lt"/>
          <a:ea typeface="+mn-ea"/>
          <a:cs typeface="+mn-cs"/>
        </a:defRPr>
      </a:lvl7pPr>
      <a:lvl8pPr marL="3264336" algn="l" defTabSz="932667" rtl="0" eaLnBrk="1" latinLnBrk="0" hangingPunct="1">
        <a:defRPr sz="1800" kern="1200">
          <a:solidFill>
            <a:schemeClr val="tx1"/>
          </a:solidFill>
          <a:latin typeface="+mn-lt"/>
          <a:ea typeface="+mn-ea"/>
          <a:cs typeface="+mn-cs"/>
        </a:defRPr>
      </a:lvl8pPr>
      <a:lvl9pPr marL="3730670" algn="l" defTabSz="93266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14" name="Group 13"/>
          <p:cNvGrpSpPr/>
          <p:nvPr/>
        </p:nvGrpSpPr>
        <p:grpSpPr>
          <a:xfrm>
            <a:off x="-15421" y="0"/>
            <a:ext cx="12451897" cy="6994525"/>
            <a:chOff x="-11340" y="0"/>
            <a:chExt cx="9155340" cy="6858000"/>
          </a:xfrm>
        </p:grpSpPr>
        <p:sp>
          <p:nvSpPr>
            <p:cNvPr id="13" name="Rectangle 12"/>
            <p:cNvSpPr/>
            <p:nvPr/>
          </p:nvSpPr>
          <p:spPr>
            <a:xfrm>
              <a:off x="0" y="0"/>
              <a:ext cx="9144000" cy="6858000"/>
            </a:xfrm>
            <a:prstGeom prst="rect">
              <a:avLst/>
            </a:prstGeom>
            <a:gradFill flip="none" rotWithShape="1">
              <a:gsLst>
                <a:gs pos="0">
                  <a:schemeClr val="bg1">
                    <a:alpha val="0"/>
                  </a:schemeClr>
                </a:gs>
                <a:gs pos="63000">
                  <a:schemeClr val="bg1">
                    <a:alpha val="0"/>
                  </a:schemeClr>
                </a:gs>
                <a:gs pos="82000">
                  <a:schemeClr val="bg1">
                    <a:lumMod val="95000"/>
                    <a:alpha val="50000"/>
                  </a:schemeClr>
                </a:gs>
                <a:gs pos="100000">
                  <a:srgbClr val="E2E2E2">
                    <a:alpha val="50000"/>
                  </a:srgbClr>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380">
                <a:solidFill>
                  <a:prstClr val="white"/>
                </a:solidFill>
              </a:endParaRPr>
            </a:p>
          </p:txBody>
        </p:sp>
        <p:grpSp>
          <p:nvGrpSpPr>
            <p:cNvPr id="9" name="Group 8"/>
            <p:cNvGrpSpPr/>
            <p:nvPr/>
          </p:nvGrpSpPr>
          <p:grpSpPr>
            <a:xfrm>
              <a:off x="-11340" y="0"/>
              <a:ext cx="9155340" cy="6858000"/>
              <a:chOff x="-11340" y="0"/>
              <a:chExt cx="9155340" cy="6858000"/>
            </a:xfrm>
          </p:grpSpPr>
          <p:sp>
            <p:nvSpPr>
              <p:cNvPr id="7" name="Rectangle 6"/>
              <p:cNvSpPr/>
              <p:nvPr/>
            </p:nvSpPr>
            <p:spPr>
              <a:xfrm>
                <a:off x="-11340" y="0"/>
                <a:ext cx="9144001" cy="6858000"/>
              </a:xfrm>
              <a:prstGeom prst="rect">
                <a:avLst/>
              </a:prstGeom>
              <a:gradFill flip="none" rotWithShape="1">
                <a:gsLst>
                  <a:gs pos="0">
                    <a:schemeClr val="bg1">
                      <a:alpha val="0"/>
                    </a:schemeClr>
                  </a:gs>
                  <a:gs pos="63000">
                    <a:schemeClr val="bg1">
                      <a:alpha val="0"/>
                    </a:schemeClr>
                  </a:gs>
                  <a:gs pos="82000">
                    <a:schemeClr val="bg1">
                      <a:lumMod val="95000"/>
                      <a:alpha val="50000"/>
                    </a:schemeClr>
                  </a:gs>
                  <a:gs pos="100000">
                    <a:srgbClr val="E2E2E2">
                      <a:alpha val="50000"/>
                    </a:srgb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380">
                  <a:solidFill>
                    <a:prstClr val="white"/>
                  </a:solidFill>
                </a:endParaRPr>
              </a:p>
            </p:txBody>
          </p:sp>
          <p:sp>
            <p:nvSpPr>
              <p:cNvPr id="8" name="Rectangle 7"/>
              <p:cNvSpPr/>
              <p:nvPr/>
            </p:nvSpPr>
            <p:spPr>
              <a:xfrm>
                <a:off x="0" y="3581400"/>
                <a:ext cx="9144000" cy="3276600"/>
              </a:xfrm>
              <a:prstGeom prst="rect">
                <a:avLst/>
              </a:prstGeom>
              <a:gradFill flip="none" rotWithShape="1">
                <a:gsLst>
                  <a:gs pos="0">
                    <a:schemeClr val="bg1">
                      <a:alpha val="0"/>
                    </a:schemeClr>
                  </a:gs>
                  <a:gs pos="100000">
                    <a:schemeClr val="bg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380">
                  <a:solidFill>
                    <a:prstClr val="white"/>
                  </a:solidFill>
                </a:endParaRPr>
              </a:p>
            </p:txBody>
          </p:sp>
        </p:grpSp>
      </p:grpSp>
      <p:sp>
        <p:nvSpPr>
          <p:cNvPr id="2" name="Title Placeholder 1"/>
          <p:cNvSpPr>
            <a:spLocks noGrp="1"/>
          </p:cNvSpPr>
          <p:nvPr>
            <p:ph type="title"/>
          </p:nvPr>
        </p:nvSpPr>
        <p:spPr>
          <a:xfrm>
            <a:off x="573251" y="0"/>
            <a:ext cx="10476074" cy="1165754"/>
          </a:xfrm>
          <a:prstGeom prst="rect">
            <a:avLst/>
          </a:prstGeom>
        </p:spPr>
        <p:txBody>
          <a:bodyPr vert="horz" lIns="0" tIns="45720" rIns="91440" bIns="45720" rtlCol="0" anchor="b">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626613" y="1476622"/>
            <a:ext cx="9764443" cy="5051601"/>
          </a:xfrm>
          <a:prstGeom prst="rect">
            <a:avLst/>
          </a:prstGeom>
        </p:spPr>
        <p:txBody>
          <a:bodyPr vert="horz" lIns="0" tIns="45720" rIns="91440" bIns="4572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1" name="Footer Placeholder 14"/>
          <p:cNvSpPr>
            <a:spLocks noGrp="1"/>
          </p:cNvSpPr>
          <p:nvPr>
            <p:ph type="ftr" sz="quarter" idx="3"/>
          </p:nvPr>
        </p:nvSpPr>
        <p:spPr>
          <a:xfrm>
            <a:off x="626613" y="6590284"/>
            <a:ext cx="1850618" cy="131134"/>
          </a:xfrm>
          <a:prstGeom prst="rect">
            <a:avLst/>
          </a:prstGeom>
        </p:spPr>
        <p:txBody>
          <a:bodyPr vert="horz" lIns="0" tIns="45720" rIns="91440" bIns="45720" rtlCol="0" anchor="ctr" anchorCtr="0"/>
          <a:lstStyle>
            <a:lvl1pPr algn="ctr">
              <a:defRPr sz="614" baseline="0">
                <a:solidFill>
                  <a:srgbClr val="808285"/>
                </a:solidFill>
                <a:latin typeface="Segoe UI" pitchFamily="34" charset="0"/>
                <a:ea typeface="Segoe UI" pitchFamily="34" charset="0"/>
                <a:cs typeface="Segoe UI" pitchFamily="34" charset="0"/>
              </a:defRPr>
            </a:lvl1pPr>
          </a:lstStyle>
          <a:p>
            <a:pPr defTabSz="932597"/>
            <a:r>
              <a:rPr lang="en-US" smtClean="0"/>
              <a:t>Microsoft Confidential</a:t>
            </a:r>
            <a:endParaRPr lang="en-US"/>
          </a:p>
        </p:txBody>
      </p:sp>
    </p:spTree>
    <p:extLst>
      <p:ext uri="{BB962C8B-B14F-4D97-AF65-F5344CB8AC3E}">
        <p14:creationId xmlns:p14="http://schemas.microsoft.com/office/powerpoint/2010/main" val="2426212172"/>
      </p:ext>
    </p:extLst>
  </p:cSld>
  <p:clrMap bg1="lt1" tx1="dk1" bg2="lt2" tx2="dk2" accent1="accent1" accent2="accent2" accent3="accent3" accent4="accent4" accent5="accent5" accent6="accent6" hlink="hlink" folHlink="folHlink"/>
  <p:sldLayoutIdLst>
    <p:sldLayoutId id="2147484308" r:id="rId1"/>
    <p:sldLayoutId id="2147484309" r:id="rId2"/>
    <p:sldLayoutId id="2147484310" r:id="rId3"/>
    <p:sldLayoutId id="2147484311" r:id="rId4"/>
    <p:sldLayoutId id="2147484312" r:id="rId5"/>
    <p:sldLayoutId id="2147484313" r:id="rId6"/>
    <p:sldLayoutId id="2147484314" r:id="rId7"/>
    <p:sldLayoutId id="2147484315" r:id="rId8"/>
    <p:sldLayoutId id="2147484316" r:id="rId9"/>
    <p:sldLayoutId id="2147484317" r:id="rId10"/>
    <p:sldLayoutId id="2147484318" r:id="rId11"/>
    <p:sldLayoutId id="2147484319" r:id="rId12"/>
    <p:sldLayoutId id="2147484320" r:id="rId13"/>
    <p:sldLayoutId id="2147484321" r:id="rId14"/>
    <p:sldLayoutId id="2147484322" r:id="rId15"/>
    <p:sldLayoutId id="2147484323" r:id="rId16"/>
  </p:sldLayoutIdLst>
  <p:timing>
    <p:tnLst>
      <p:par>
        <p:cTn id="1" dur="indefinite" restart="never" nodeType="tmRoot"/>
      </p:par>
    </p:tnLst>
  </p:timing>
  <p:hf hdr="0" dt="0"/>
  <p:txStyles>
    <p:titleStyle>
      <a:lvl1pPr algn="l" defTabSz="701219" rtl="0" eaLnBrk="1" latinLnBrk="0" hangingPunct="1">
        <a:lnSpc>
          <a:spcPts val="3681"/>
        </a:lnSpc>
        <a:spcBef>
          <a:spcPct val="0"/>
        </a:spcBef>
        <a:buNone/>
        <a:defRPr sz="3681" kern="1200" spc="-153" baseline="0">
          <a:solidFill>
            <a:srgbClr val="00B9F2"/>
          </a:solidFill>
          <a:latin typeface="Segoe UI Light" pitchFamily="34" charset="0"/>
          <a:ea typeface="+mj-ea"/>
          <a:cs typeface="+mj-cs"/>
        </a:defRPr>
      </a:lvl1pPr>
    </p:titleStyle>
    <p:bodyStyle>
      <a:lvl1pPr marL="262958" indent="-262958" algn="l" defTabSz="701219" rtl="0" eaLnBrk="1" latinLnBrk="0" hangingPunct="1">
        <a:lnSpc>
          <a:spcPct val="85000"/>
        </a:lnSpc>
        <a:spcBef>
          <a:spcPts val="1841"/>
        </a:spcBef>
        <a:spcAft>
          <a:spcPts val="0"/>
        </a:spcAft>
        <a:buClr>
          <a:srgbClr val="00B0F0"/>
        </a:buClr>
        <a:buSzPct val="100000"/>
        <a:buFont typeface="Wingdings" pitchFamily="2" charset="2"/>
        <a:buChar char="§"/>
        <a:defRPr sz="1841" kern="1200" spc="-54" baseline="0">
          <a:solidFill>
            <a:srgbClr val="666666"/>
          </a:solidFill>
          <a:latin typeface="Segoe UI" pitchFamily="34" charset="0"/>
          <a:ea typeface="Segoe UI" pitchFamily="34" charset="0"/>
          <a:cs typeface="Segoe UI" pitchFamily="34" charset="0"/>
        </a:defRPr>
      </a:lvl1pPr>
      <a:lvl2pPr marL="569741" indent="-219131" algn="l" defTabSz="701219" rtl="0" eaLnBrk="1" latinLnBrk="0" hangingPunct="1">
        <a:lnSpc>
          <a:spcPct val="85000"/>
        </a:lnSpc>
        <a:spcBef>
          <a:spcPts val="460"/>
        </a:spcBef>
        <a:spcAft>
          <a:spcPts val="0"/>
        </a:spcAft>
        <a:buClr>
          <a:srgbClr val="00B0F0"/>
        </a:buClr>
        <a:buSzPct val="100000"/>
        <a:buFont typeface="Wingdings" pitchFamily="2" charset="2"/>
        <a:buChar char="§"/>
        <a:defRPr sz="1534" kern="1200" spc="-54" baseline="0">
          <a:solidFill>
            <a:srgbClr val="666666"/>
          </a:solidFill>
          <a:latin typeface="Segoe UI" pitchFamily="34" charset="0"/>
          <a:ea typeface="Segoe UI" pitchFamily="34" charset="0"/>
          <a:cs typeface="Segoe UI" pitchFamily="34" charset="0"/>
        </a:defRPr>
      </a:lvl2pPr>
      <a:lvl3pPr marL="876524" indent="-175304" algn="l" defTabSz="701219" rtl="0" eaLnBrk="1" latinLnBrk="0" hangingPunct="1">
        <a:lnSpc>
          <a:spcPct val="85000"/>
        </a:lnSpc>
        <a:spcBef>
          <a:spcPts val="460"/>
        </a:spcBef>
        <a:spcAft>
          <a:spcPts val="0"/>
        </a:spcAft>
        <a:buClr>
          <a:srgbClr val="00B0F0"/>
        </a:buClr>
        <a:buFont typeface="Wingdings" pitchFamily="2" charset="2"/>
        <a:buChar char="§"/>
        <a:defRPr sz="1380" kern="1200" spc="-54" baseline="0">
          <a:solidFill>
            <a:srgbClr val="666666"/>
          </a:solidFill>
          <a:latin typeface="Segoe UI" pitchFamily="34" charset="0"/>
          <a:ea typeface="Segoe UI" pitchFamily="34" charset="0"/>
          <a:cs typeface="Segoe UI" pitchFamily="34" charset="0"/>
        </a:defRPr>
      </a:lvl3pPr>
      <a:lvl4pPr marL="1227133" indent="-175304" algn="l" defTabSz="701219" rtl="0" eaLnBrk="1" latinLnBrk="0" hangingPunct="1">
        <a:lnSpc>
          <a:spcPct val="85000"/>
        </a:lnSpc>
        <a:spcBef>
          <a:spcPts val="460"/>
        </a:spcBef>
        <a:spcAft>
          <a:spcPts val="0"/>
        </a:spcAft>
        <a:buClr>
          <a:srgbClr val="00B0F0"/>
        </a:buClr>
        <a:buFont typeface="Wingdings" pitchFamily="2" charset="2"/>
        <a:buChar char="§"/>
        <a:defRPr sz="1380" kern="1200" spc="-54" baseline="0">
          <a:solidFill>
            <a:srgbClr val="666666"/>
          </a:solidFill>
          <a:latin typeface="Segoe UI" pitchFamily="34" charset="0"/>
          <a:ea typeface="Segoe UI" pitchFamily="34" charset="0"/>
          <a:cs typeface="Segoe UI" pitchFamily="34" charset="0"/>
        </a:defRPr>
      </a:lvl4pPr>
      <a:lvl5pPr marL="1577743" indent="-175304" algn="l" defTabSz="701219" rtl="0" eaLnBrk="1" latinLnBrk="0" hangingPunct="1">
        <a:lnSpc>
          <a:spcPct val="85000"/>
        </a:lnSpc>
        <a:spcBef>
          <a:spcPts val="460"/>
        </a:spcBef>
        <a:spcAft>
          <a:spcPts val="0"/>
        </a:spcAft>
        <a:buClr>
          <a:srgbClr val="00B0F0"/>
        </a:buClr>
        <a:buFont typeface="Wingdings" pitchFamily="2" charset="2"/>
        <a:buChar char="§"/>
        <a:defRPr sz="1380" kern="1200" spc="-54" baseline="0">
          <a:solidFill>
            <a:srgbClr val="666666"/>
          </a:solidFill>
          <a:latin typeface="Segoe UI" pitchFamily="34" charset="0"/>
          <a:ea typeface="Segoe UI" pitchFamily="34" charset="0"/>
          <a:cs typeface="Segoe UI" pitchFamily="34" charset="0"/>
        </a:defRPr>
      </a:lvl5pPr>
      <a:lvl6pPr marL="1928353" indent="-175304" algn="l" defTabSz="701219" rtl="0" eaLnBrk="1" latinLnBrk="0" hangingPunct="1">
        <a:spcBef>
          <a:spcPct val="20000"/>
        </a:spcBef>
        <a:buFont typeface="Arial" pitchFamily="34" charset="0"/>
        <a:buChar char="•"/>
        <a:defRPr sz="1534" kern="1200">
          <a:solidFill>
            <a:schemeClr val="tx1"/>
          </a:solidFill>
          <a:latin typeface="+mn-lt"/>
          <a:ea typeface="+mn-ea"/>
          <a:cs typeface="+mn-cs"/>
        </a:defRPr>
      </a:lvl6pPr>
      <a:lvl7pPr marL="2278962" indent="-175304" algn="l" defTabSz="701219" rtl="0" eaLnBrk="1" latinLnBrk="0" hangingPunct="1">
        <a:spcBef>
          <a:spcPct val="20000"/>
        </a:spcBef>
        <a:buFont typeface="Arial" pitchFamily="34" charset="0"/>
        <a:buChar char="•"/>
        <a:defRPr sz="1534" kern="1200">
          <a:solidFill>
            <a:schemeClr val="tx1"/>
          </a:solidFill>
          <a:latin typeface="+mn-lt"/>
          <a:ea typeface="+mn-ea"/>
          <a:cs typeface="+mn-cs"/>
        </a:defRPr>
      </a:lvl7pPr>
      <a:lvl8pPr marL="2629572" indent="-175304" algn="l" defTabSz="701219" rtl="0" eaLnBrk="1" latinLnBrk="0" hangingPunct="1">
        <a:spcBef>
          <a:spcPct val="20000"/>
        </a:spcBef>
        <a:buFont typeface="Arial" pitchFamily="34" charset="0"/>
        <a:buChar char="•"/>
        <a:defRPr sz="1534" kern="1200">
          <a:solidFill>
            <a:schemeClr val="tx1"/>
          </a:solidFill>
          <a:latin typeface="+mn-lt"/>
          <a:ea typeface="+mn-ea"/>
          <a:cs typeface="+mn-cs"/>
        </a:defRPr>
      </a:lvl8pPr>
      <a:lvl9pPr marL="2980182" indent="-175304" algn="l" defTabSz="701219" rtl="0" eaLnBrk="1" latinLnBrk="0" hangingPunct="1">
        <a:spcBef>
          <a:spcPct val="20000"/>
        </a:spcBef>
        <a:buFont typeface="Arial" pitchFamily="34" charset="0"/>
        <a:buChar char="•"/>
        <a:defRPr sz="1534" kern="1200">
          <a:solidFill>
            <a:schemeClr val="tx1"/>
          </a:solidFill>
          <a:latin typeface="+mn-lt"/>
          <a:ea typeface="+mn-ea"/>
          <a:cs typeface="+mn-cs"/>
        </a:defRPr>
      </a:lvl9pPr>
    </p:bodyStyle>
    <p:otherStyle>
      <a:defPPr>
        <a:defRPr lang="en-US"/>
      </a:defPPr>
      <a:lvl1pPr marL="0" algn="l" defTabSz="701219" rtl="0" eaLnBrk="1" latinLnBrk="0" hangingPunct="1">
        <a:defRPr sz="1380" kern="1200">
          <a:solidFill>
            <a:schemeClr val="tx1"/>
          </a:solidFill>
          <a:latin typeface="+mn-lt"/>
          <a:ea typeface="+mn-ea"/>
          <a:cs typeface="+mn-cs"/>
        </a:defRPr>
      </a:lvl1pPr>
      <a:lvl2pPr marL="350610" algn="l" defTabSz="701219" rtl="0" eaLnBrk="1" latinLnBrk="0" hangingPunct="1">
        <a:defRPr sz="1380" kern="1200">
          <a:solidFill>
            <a:schemeClr val="tx1"/>
          </a:solidFill>
          <a:latin typeface="+mn-lt"/>
          <a:ea typeface="+mn-ea"/>
          <a:cs typeface="+mn-cs"/>
        </a:defRPr>
      </a:lvl2pPr>
      <a:lvl3pPr marL="701219" algn="l" defTabSz="701219" rtl="0" eaLnBrk="1" latinLnBrk="0" hangingPunct="1">
        <a:defRPr sz="1380" kern="1200">
          <a:solidFill>
            <a:schemeClr val="tx1"/>
          </a:solidFill>
          <a:latin typeface="+mn-lt"/>
          <a:ea typeface="+mn-ea"/>
          <a:cs typeface="+mn-cs"/>
        </a:defRPr>
      </a:lvl3pPr>
      <a:lvl4pPr marL="1051829" algn="l" defTabSz="701219" rtl="0" eaLnBrk="1" latinLnBrk="0" hangingPunct="1">
        <a:defRPr sz="1380" kern="1200">
          <a:solidFill>
            <a:schemeClr val="tx1"/>
          </a:solidFill>
          <a:latin typeface="+mn-lt"/>
          <a:ea typeface="+mn-ea"/>
          <a:cs typeface="+mn-cs"/>
        </a:defRPr>
      </a:lvl4pPr>
      <a:lvl5pPr marL="1402439" algn="l" defTabSz="701219" rtl="0" eaLnBrk="1" latinLnBrk="0" hangingPunct="1">
        <a:defRPr sz="1380" kern="1200">
          <a:solidFill>
            <a:schemeClr val="tx1"/>
          </a:solidFill>
          <a:latin typeface="+mn-lt"/>
          <a:ea typeface="+mn-ea"/>
          <a:cs typeface="+mn-cs"/>
        </a:defRPr>
      </a:lvl5pPr>
      <a:lvl6pPr marL="1753048" algn="l" defTabSz="701219" rtl="0" eaLnBrk="1" latinLnBrk="0" hangingPunct="1">
        <a:defRPr sz="1380" kern="1200">
          <a:solidFill>
            <a:schemeClr val="tx1"/>
          </a:solidFill>
          <a:latin typeface="+mn-lt"/>
          <a:ea typeface="+mn-ea"/>
          <a:cs typeface="+mn-cs"/>
        </a:defRPr>
      </a:lvl6pPr>
      <a:lvl7pPr marL="2103658" algn="l" defTabSz="701219" rtl="0" eaLnBrk="1" latinLnBrk="0" hangingPunct="1">
        <a:defRPr sz="1380" kern="1200">
          <a:solidFill>
            <a:schemeClr val="tx1"/>
          </a:solidFill>
          <a:latin typeface="+mn-lt"/>
          <a:ea typeface="+mn-ea"/>
          <a:cs typeface="+mn-cs"/>
        </a:defRPr>
      </a:lvl7pPr>
      <a:lvl8pPr marL="2454268" algn="l" defTabSz="701219" rtl="0" eaLnBrk="1" latinLnBrk="0" hangingPunct="1">
        <a:defRPr sz="1380" kern="1200">
          <a:solidFill>
            <a:schemeClr val="tx1"/>
          </a:solidFill>
          <a:latin typeface="+mn-lt"/>
          <a:ea typeface="+mn-ea"/>
          <a:cs typeface="+mn-cs"/>
        </a:defRPr>
      </a:lvl8pPr>
      <a:lvl9pPr marL="2804877" algn="l" defTabSz="701219" rtl="0" eaLnBrk="1" latinLnBrk="0" hangingPunct="1">
        <a:defRPr sz="138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2"/>
            <a:ext cx="11887197" cy="1720976"/>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6" name="Picture 5"/>
          <p:cNvPicPr>
            <a:picLocks noChangeAspect="1"/>
          </p:cNvPicPr>
          <p:nvPr userDrawn="1"/>
        </p:nvPicPr>
        <p:blipFill>
          <a:blip r:embed="rId44"/>
          <a:stretch>
            <a:fillRect/>
          </a:stretch>
        </p:blipFill>
        <p:spPr>
          <a:xfrm rot="5400000">
            <a:off x="9489149" y="3050513"/>
            <a:ext cx="6995160" cy="894134"/>
          </a:xfrm>
          <a:prstGeom prst="rect">
            <a:avLst/>
          </a:prstGeom>
        </p:spPr>
      </p:pic>
    </p:spTree>
    <p:extLst>
      <p:ext uri="{BB962C8B-B14F-4D97-AF65-F5344CB8AC3E}">
        <p14:creationId xmlns:p14="http://schemas.microsoft.com/office/powerpoint/2010/main" val="2372894408"/>
      </p:ext>
    </p:extLst>
  </p:cSld>
  <p:clrMap bg1="dk1" tx1="lt1" bg2="dk2" tx2="lt2" accent1="accent1" accent2="accent2" accent3="accent3" accent4="accent4" accent5="accent5" accent6="accent6" hlink="hlink" folHlink="folHlink"/>
  <p:sldLayoutIdLst>
    <p:sldLayoutId id="2147484325" r:id="rId1"/>
    <p:sldLayoutId id="2147484326" r:id="rId2"/>
    <p:sldLayoutId id="2147484327" r:id="rId3"/>
    <p:sldLayoutId id="2147484328" r:id="rId4"/>
    <p:sldLayoutId id="2147484329" r:id="rId5"/>
    <p:sldLayoutId id="2147484330" r:id="rId6"/>
    <p:sldLayoutId id="2147484331" r:id="rId7"/>
    <p:sldLayoutId id="2147484332" r:id="rId8"/>
    <p:sldLayoutId id="2147484333" r:id="rId9"/>
    <p:sldLayoutId id="2147484334" r:id="rId10"/>
    <p:sldLayoutId id="2147484335" r:id="rId11"/>
    <p:sldLayoutId id="2147484336" r:id="rId12"/>
    <p:sldLayoutId id="2147484337" r:id="rId13"/>
    <p:sldLayoutId id="2147484338" r:id="rId14"/>
    <p:sldLayoutId id="2147484339" r:id="rId15"/>
    <p:sldLayoutId id="2147484340" r:id="rId16"/>
    <p:sldLayoutId id="2147484341" r:id="rId17"/>
    <p:sldLayoutId id="2147484342" r:id="rId18"/>
    <p:sldLayoutId id="2147484343" r:id="rId19"/>
    <p:sldLayoutId id="2147484344" r:id="rId20"/>
    <p:sldLayoutId id="2147484345" r:id="rId21"/>
    <p:sldLayoutId id="2147484346" r:id="rId22"/>
    <p:sldLayoutId id="2147484347" r:id="rId23"/>
    <p:sldLayoutId id="2147484348" r:id="rId24"/>
    <p:sldLayoutId id="2147484349" r:id="rId25"/>
    <p:sldLayoutId id="2147484350" r:id="rId26"/>
    <p:sldLayoutId id="2147484351" r:id="rId27"/>
    <p:sldLayoutId id="2147484352" r:id="rId28"/>
    <p:sldLayoutId id="2147484353" r:id="rId29"/>
    <p:sldLayoutId id="2147484354" r:id="rId30"/>
    <p:sldLayoutId id="2147484355" r:id="rId31"/>
    <p:sldLayoutId id="2147484356" r:id="rId32"/>
    <p:sldLayoutId id="2147484357" r:id="rId33"/>
    <p:sldLayoutId id="2147484358" r:id="rId34"/>
    <p:sldLayoutId id="2147484359" r:id="rId35"/>
    <p:sldLayoutId id="2147484360" r:id="rId36"/>
    <p:sldLayoutId id="2147484361" r:id="rId37"/>
    <p:sldLayoutId id="2147484362" r:id="rId38"/>
    <p:sldLayoutId id="2147484363" r:id="rId39"/>
    <p:sldLayoutId id="2147484364" r:id="rId40"/>
    <p:sldLayoutId id="2147484365" r:id="rId41"/>
    <p:sldLayoutId id="2147484366" r:id="rId42"/>
  </p:sldLayoutIdLst>
  <p:transition>
    <p:fade/>
  </p:transition>
  <p:timing>
    <p:tnLst>
      <p:par>
        <p:cTn id="1" dur="indefinite" restart="never" nodeType="tmRoot"/>
      </p:par>
    </p:tnLst>
  </p:timing>
  <p:txStyles>
    <p:titleStyle>
      <a:lvl1pPr algn="l" defTabSz="699493" rtl="0" eaLnBrk="1" latinLnBrk="0" hangingPunct="1">
        <a:lnSpc>
          <a:spcPct val="90000"/>
        </a:lnSpc>
        <a:spcBef>
          <a:spcPct val="0"/>
        </a:spcBef>
        <a:buNone/>
        <a:defRPr lang="en-US" sz="4050" b="0" kern="1200" cap="none" spc="-76"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7151" marR="0" indent="-257151" algn="l" defTabSz="6994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000" kern="1200" spc="0" baseline="0">
          <a:gradFill>
            <a:gsLst>
              <a:gs pos="1250">
                <a:schemeClr val="tx1"/>
              </a:gs>
              <a:gs pos="100000">
                <a:schemeClr val="tx1"/>
              </a:gs>
            </a:gsLst>
            <a:lin ang="5400000" scaled="0"/>
          </a:gradFill>
          <a:latin typeface="+mj-lt"/>
          <a:ea typeface="+mn-ea"/>
          <a:cs typeface="+mn-cs"/>
        </a:defRPr>
      </a:lvl1pPr>
      <a:lvl2pPr marL="438110" marR="0" indent="-180959" algn="l" defTabSz="6994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2pPr>
      <a:lvl3pPr marL="600021" marR="0" indent="-171435" algn="l" defTabSz="6994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3pPr>
      <a:lvl4pPr marL="771455" marR="0" indent="-171435" algn="l" defTabSz="6994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500" kern="1200" spc="0" baseline="0">
          <a:gradFill>
            <a:gsLst>
              <a:gs pos="1250">
                <a:schemeClr val="tx1"/>
              </a:gs>
              <a:gs pos="100000">
                <a:schemeClr val="tx1"/>
              </a:gs>
            </a:gsLst>
            <a:lin ang="5400000" scaled="0"/>
          </a:gradFill>
          <a:latin typeface="+mn-lt"/>
          <a:ea typeface="+mn-ea"/>
          <a:cs typeface="+mn-cs"/>
        </a:defRPr>
      </a:lvl4pPr>
      <a:lvl5pPr marL="942890" marR="0" indent="-171435" algn="l" defTabSz="6994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500" kern="1200" spc="0" baseline="0">
          <a:gradFill>
            <a:gsLst>
              <a:gs pos="1250">
                <a:schemeClr val="tx1"/>
              </a:gs>
              <a:gs pos="100000">
                <a:schemeClr val="tx1"/>
              </a:gs>
            </a:gsLst>
            <a:lin ang="5400000" scaled="0"/>
          </a:gradFill>
          <a:latin typeface="+mn-lt"/>
          <a:ea typeface="+mn-ea"/>
          <a:cs typeface="+mn-cs"/>
        </a:defRPr>
      </a:lvl5pPr>
      <a:lvl6pPr marL="1923607" indent="-174874" algn="l" defTabSz="69949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354" indent="-174874" algn="l" defTabSz="69949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3101" indent="-174874" algn="l" defTabSz="69949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2848" indent="-174874" algn="l" defTabSz="699493"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99493" rtl="0" eaLnBrk="1" latinLnBrk="0" hangingPunct="1">
        <a:defRPr sz="1350" kern="1200">
          <a:solidFill>
            <a:schemeClr val="tx1"/>
          </a:solidFill>
          <a:latin typeface="+mn-lt"/>
          <a:ea typeface="+mn-ea"/>
          <a:cs typeface="+mn-cs"/>
        </a:defRPr>
      </a:lvl1pPr>
      <a:lvl2pPr marL="349747" algn="l" defTabSz="699493" rtl="0" eaLnBrk="1" latinLnBrk="0" hangingPunct="1">
        <a:defRPr sz="1350" kern="1200">
          <a:solidFill>
            <a:schemeClr val="tx1"/>
          </a:solidFill>
          <a:latin typeface="+mn-lt"/>
          <a:ea typeface="+mn-ea"/>
          <a:cs typeface="+mn-cs"/>
        </a:defRPr>
      </a:lvl2pPr>
      <a:lvl3pPr marL="699493" algn="l" defTabSz="699493" rtl="0" eaLnBrk="1" latinLnBrk="0" hangingPunct="1">
        <a:defRPr sz="1350" kern="1200">
          <a:solidFill>
            <a:schemeClr val="tx1"/>
          </a:solidFill>
          <a:latin typeface="+mn-lt"/>
          <a:ea typeface="+mn-ea"/>
          <a:cs typeface="+mn-cs"/>
        </a:defRPr>
      </a:lvl3pPr>
      <a:lvl4pPr marL="1049240" algn="l" defTabSz="699493" rtl="0" eaLnBrk="1" latinLnBrk="0" hangingPunct="1">
        <a:defRPr sz="1350" kern="1200">
          <a:solidFill>
            <a:schemeClr val="tx1"/>
          </a:solidFill>
          <a:latin typeface="+mn-lt"/>
          <a:ea typeface="+mn-ea"/>
          <a:cs typeface="+mn-cs"/>
        </a:defRPr>
      </a:lvl4pPr>
      <a:lvl5pPr marL="1398987" algn="l" defTabSz="699493" rtl="0" eaLnBrk="1" latinLnBrk="0" hangingPunct="1">
        <a:defRPr sz="1350" kern="1200">
          <a:solidFill>
            <a:schemeClr val="tx1"/>
          </a:solidFill>
          <a:latin typeface="+mn-lt"/>
          <a:ea typeface="+mn-ea"/>
          <a:cs typeface="+mn-cs"/>
        </a:defRPr>
      </a:lvl5pPr>
      <a:lvl6pPr marL="1748735" algn="l" defTabSz="699493" rtl="0" eaLnBrk="1" latinLnBrk="0" hangingPunct="1">
        <a:defRPr sz="1350" kern="1200">
          <a:solidFill>
            <a:schemeClr val="tx1"/>
          </a:solidFill>
          <a:latin typeface="+mn-lt"/>
          <a:ea typeface="+mn-ea"/>
          <a:cs typeface="+mn-cs"/>
        </a:defRPr>
      </a:lvl6pPr>
      <a:lvl7pPr marL="2098481" algn="l" defTabSz="699493" rtl="0" eaLnBrk="1" latinLnBrk="0" hangingPunct="1">
        <a:defRPr sz="1350" kern="1200">
          <a:solidFill>
            <a:schemeClr val="tx1"/>
          </a:solidFill>
          <a:latin typeface="+mn-lt"/>
          <a:ea typeface="+mn-ea"/>
          <a:cs typeface="+mn-cs"/>
        </a:defRPr>
      </a:lvl7pPr>
      <a:lvl8pPr marL="2448227" algn="l" defTabSz="699493" rtl="0" eaLnBrk="1" latinLnBrk="0" hangingPunct="1">
        <a:defRPr sz="1350" kern="1200">
          <a:solidFill>
            <a:schemeClr val="tx1"/>
          </a:solidFill>
          <a:latin typeface="+mn-lt"/>
          <a:ea typeface="+mn-ea"/>
          <a:cs typeface="+mn-cs"/>
        </a:defRPr>
      </a:lvl8pPr>
      <a:lvl9pPr marL="2797975" algn="l" defTabSz="699493"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8.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38.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18.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3.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56.xml"/></Relationships>
</file>

<file path=ppt/slides/_rels/slide14.xml.rels><?xml version="1.0" encoding="UTF-8" standalone="yes"?>
<Relationships xmlns="http://schemas.openxmlformats.org/package/2006/relationships"><Relationship Id="rId2" Type="http://schemas.openxmlformats.org/officeDocument/2006/relationships/slideLayout" Target="../slideLayouts/slideLayout55.xml"/><Relationship Id="rId1" Type="http://schemas.openxmlformats.org/officeDocument/2006/relationships/tags" Target="../tags/tag5.xml"/></Relationships>
</file>

<file path=ppt/slides/_rels/slide15.xml.rels><?xml version="1.0" encoding="UTF-8" standalone="yes"?>
<Relationships xmlns="http://schemas.openxmlformats.org/package/2006/relationships"><Relationship Id="rId3" Type="http://schemas.openxmlformats.org/officeDocument/2006/relationships/image" Target="../media/image20.emf"/><Relationship Id="rId7" Type="http://schemas.openxmlformats.org/officeDocument/2006/relationships/image" Target="../media/image24.png"/><Relationship Id="rId2" Type="http://schemas.openxmlformats.org/officeDocument/2006/relationships/notesSlide" Target="../notesSlides/notesSlide9.xml"/><Relationship Id="rId1" Type="http://schemas.openxmlformats.org/officeDocument/2006/relationships/slideLayout" Target="../slideLayouts/slideLayout33.xml"/><Relationship Id="rId6" Type="http://schemas.openxmlformats.org/officeDocument/2006/relationships/image" Target="../media/image23.png"/><Relationship Id="rId5" Type="http://schemas.openxmlformats.org/officeDocument/2006/relationships/image" Target="../media/image22.emf"/><Relationship Id="rId4" Type="http://schemas.openxmlformats.org/officeDocument/2006/relationships/image" Target="../media/image21.emf"/></Relationships>
</file>

<file path=ppt/slides/_rels/slide1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0.xml"/><Relationship Id="rId1" Type="http://schemas.openxmlformats.org/officeDocument/2006/relationships/slideLayout" Target="../slideLayouts/slideLayout33.xml"/><Relationship Id="rId4" Type="http://schemas.openxmlformats.org/officeDocument/2006/relationships/image" Target="../media/image25.png"/></Relationships>
</file>

<file path=ppt/slides/_rels/slide1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1.xml"/><Relationship Id="rId1" Type="http://schemas.openxmlformats.org/officeDocument/2006/relationships/slideLayout" Target="../slideLayouts/slideLayout55.xml"/><Relationship Id="rId4" Type="http://schemas.openxmlformats.org/officeDocument/2006/relationships/image" Target="../media/image25.png"/></Relationships>
</file>

<file path=ppt/slides/_rels/slide1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2.xml"/><Relationship Id="rId1" Type="http://schemas.openxmlformats.org/officeDocument/2006/relationships/slideLayout" Target="../slideLayouts/slideLayout55.xml"/><Relationship Id="rId4" Type="http://schemas.openxmlformats.org/officeDocument/2006/relationships/image" Target="../media/image25.png"/></Relationships>
</file>

<file path=ppt/slides/_rels/slide1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3.xml"/><Relationship Id="rId1" Type="http://schemas.openxmlformats.org/officeDocument/2006/relationships/slideLayout" Target="../slideLayouts/slideLayout55.xml"/><Relationship Id="rId4" Type="http://schemas.openxmlformats.org/officeDocument/2006/relationships/image" Target="../media/image25.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2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4.xml"/><Relationship Id="rId1" Type="http://schemas.openxmlformats.org/officeDocument/2006/relationships/slideLayout" Target="../slideLayouts/slideLayout55.xml"/></Relationships>
</file>

<file path=ppt/slides/_rels/slide2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5.xml"/><Relationship Id="rId1" Type="http://schemas.openxmlformats.org/officeDocument/2006/relationships/slideLayout" Target="../slideLayouts/slideLayout55.xml"/><Relationship Id="rId5" Type="http://schemas.openxmlformats.org/officeDocument/2006/relationships/image" Target="../media/image25.png"/><Relationship Id="rId4" Type="http://schemas.openxmlformats.org/officeDocument/2006/relationships/image" Target="../media/image26.png"/></Relationships>
</file>

<file path=ppt/slides/_rels/slide2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6.xml"/><Relationship Id="rId1" Type="http://schemas.openxmlformats.org/officeDocument/2006/relationships/slideLayout" Target="../slideLayouts/slideLayout55.xml"/><Relationship Id="rId5" Type="http://schemas.openxmlformats.org/officeDocument/2006/relationships/image" Target="../media/image25.png"/><Relationship Id="rId4" Type="http://schemas.openxmlformats.org/officeDocument/2006/relationships/image" Target="../media/image26.png"/></Relationships>
</file>

<file path=ppt/slides/_rels/slide2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7.xml"/><Relationship Id="rId1" Type="http://schemas.openxmlformats.org/officeDocument/2006/relationships/slideLayout" Target="../slideLayouts/slideLayout55.xml"/><Relationship Id="rId5" Type="http://schemas.openxmlformats.org/officeDocument/2006/relationships/image" Target="../media/image27.png"/><Relationship Id="rId4" Type="http://schemas.openxmlformats.org/officeDocument/2006/relationships/image" Target="../media/image25.png"/></Relationships>
</file>

<file path=ppt/slides/_rels/slide2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8.xml"/><Relationship Id="rId1" Type="http://schemas.openxmlformats.org/officeDocument/2006/relationships/slideLayout" Target="../slideLayouts/slideLayout55.xml"/><Relationship Id="rId4" Type="http://schemas.openxmlformats.org/officeDocument/2006/relationships/image" Target="../media/image25.png"/></Relationships>
</file>

<file path=ppt/slides/_rels/slide2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3.png"/><Relationship Id="rId1" Type="http://schemas.openxmlformats.org/officeDocument/2006/relationships/slideLayout" Target="../slideLayouts/slideLayout33.xml"/><Relationship Id="rId4" Type="http://schemas.openxmlformats.org/officeDocument/2006/relationships/image" Target="../media/image28.png"/></Relationships>
</file>

<file path=ppt/slides/_rels/slide2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9.xml"/><Relationship Id="rId1" Type="http://schemas.openxmlformats.org/officeDocument/2006/relationships/slideLayout" Target="../slideLayouts/slideLayout55.xml"/><Relationship Id="rId5" Type="http://schemas.openxmlformats.org/officeDocument/2006/relationships/image" Target="../media/image28.png"/><Relationship Id="rId4" Type="http://schemas.openxmlformats.org/officeDocument/2006/relationships/image" Target="../media/image26.png"/></Relationships>
</file>

<file path=ppt/slides/_rels/slide2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0.xml"/><Relationship Id="rId1" Type="http://schemas.openxmlformats.org/officeDocument/2006/relationships/slideLayout" Target="../slideLayouts/slideLayout55.xml"/><Relationship Id="rId5" Type="http://schemas.openxmlformats.org/officeDocument/2006/relationships/image" Target="../media/image28.png"/><Relationship Id="rId4" Type="http://schemas.openxmlformats.org/officeDocument/2006/relationships/image" Target="../media/image26.png"/></Relationships>
</file>

<file path=ppt/slides/_rels/slide2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33.xml"/></Relationships>
</file>

<file path=ppt/slides/_rels/slide2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3.png"/><Relationship Id="rId1" Type="http://schemas.openxmlformats.org/officeDocument/2006/relationships/slideLayout" Target="../slideLayouts/slideLayout33.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s/_rels/slide3.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2.xml"/><Relationship Id="rId1" Type="http://schemas.openxmlformats.org/officeDocument/2006/relationships/slideLayout" Target="../slideLayouts/slideLayout46.xml"/><Relationship Id="rId5" Type="http://schemas.openxmlformats.org/officeDocument/2006/relationships/hyperlink" Target="http://blogs.wsj.com/digits/2014/08/05/security-firm-russian-hackers-amassed-1-2-billion-web-credentials/" TargetMode="External"/><Relationship Id="rId4" Type="http://schemas.microsoft.com/office/2007/relationships/hdphoto" Target="../media/hdphoto3.wdp"/></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1.xml"/><Relationship Id="rId7" Type="http://schemas.openxmlformats.org/officeDocument/2006/relationships/image" Target="../media/image35.png"/><Relationship Id="rId2" Type="http://schemas.openxmlformats.org/officeDocument/2006/relationships/slideLayout" Target="../slideLayouts/slideLayout83.xml"/><Relationship Id="rId1" Type="http://schemas.openxmlformats.org/officeDocument/2006/relationships/tags" Target="../tags/tag6.xml"/><Relationship Id="rId6" Type="http://schemas.microsoft.com/office/2007/relationships/hdphoto" Target="../media/hdphoto4.wdp"/><Relationship Id="rId5" Type="http://schemas.openxmlformats.org/officeDocument/2006/relationships/image" Target="../media/image34.png"/><Relationship Id="rId4" Type="http://schemas.openxmlformats.org/officeDocument/2006/relationships/image" Target="../media/image33.png"/></Relationships>
</file>

<file path=ppt/slides/_rels/slide31.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slideLayout" Target="../slideLayouts/slideLayout83.xml"/><Relationship Id="rId7" Type="http://schemas.openxmlformats.org/officeDocument/2006/relationships/image" Target="../media/image36.pn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35.png"/><Relationship Id="rId5" Type="http://schemas.openxmlformats.org/officeDocument/2006/relationships/image" Target="../media/image33.png"/><Relationship Id="rId10" Type="http://schemas.microsoft.com/office/2007/relationships/hdphoto" Target="../media/hdphoto4.wdp"/><Relationship Id="rId4" Type="http://schemas.openxmlformats.org/officeDocument/2006/relationships/notesSlide" Target="../notesSlides/notesSlide22.xml"/><Relationship Id="rId9" Type="http://schemas.openxmlformats.org/officeDocument/2006/relationships/image" Target="../media/image34.png"/></Relationships>
</file>

<file path=ppt/slides/_rels/slide32.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slideLayout" Target="../slideLayouts/slideLayout83.xml"/><Relationship Id="rId7" Type="http://schemas.openxmlformats.org/officeDocument/2006/relationships/image" Target="../media/image37.pn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notesSlide" Target="../notesSlides/notesSlide23.xml"/><Relationship Id="rId9" Type="http://schemas.microsoft.com/office/2007/relationships/hdphoto" Target="../media/hdphoto4.wdp"/></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86.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86.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86.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86.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32.xml"/><Relationship Id="rId2" Type="http://schemas.openxmlformats.org/officeDocument/2006/relationships/video" Target="../media/media2.mp4"/><Relationship Id="rId1" Type="http://schemas.microsoft.com/office/2007/relationships/media" Target="../media/media2.mp4"/><Relationship Id="rId4" Type="http://schemas.openxmlformats.org/officeDocument/2006/relationships/image" Target="../media/image38.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6.xml"/></Relationships>
</file>

<file path=ppt/slides/_rels/slide40.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30.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42.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8.xml"/><Relationship Id="rId1" Type="http://schemas.openxmlformats.org/officeDocument/2006/relationships/slideLayout" Target="../slideLayouts/slideLayout46.xml"/><Relationship Id="rId5" Type="http://schemas.openxmlformats.org/officeDocument/2006/relationships/image" Target="../media/image41.png"/><Relationship Id="rId4" Type="http://schemas.openxmlformats.org/officeDocument/2006/relationships/hyperlink" Target="http://myignite.microsoft.com/" TargetMode="Externa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51.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6.xml"/><Relationship Id="rId1" Type="http://schemas.openxmlformats.org/officeDocument/2006/relationships/tags" Target="../tags/tag1.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6.xml"/><Relationship Id="rId1" Type="http://schemas.openxmlformats.org/officeDocument/2006/relationships/tags" Target="../tags/tag2.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6.xml"/><Relationship Id="rId1" Type="http://schemas.openxmlformats.org/officeDocument/2006/relationships/tags" Target="../tags/tag3.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59.xml"/><Relationship Id="rId1" Type="http://schemas.openxmlformats.org/officeDocument/2006/relationships/tags" Target="../tags/tag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83543368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9" y="2887662"/>
            <a:ext cx="11889564" cy="917575"/>
          </a:xfrm>
        </p:spPr>
        <p:txBody>
          <a:bodyPr/>
          <a:lstStyle/>
          <a:p>
            <a:r>
              <a:rPr lang="en-US" sz="8000" dirty="0" smtClean="0"/>
              <a:t>Passport</a:t>
            </a:r>
            <a:r>
              <a:rPr lang="en-US" sz="8000" spc="0" dirty="0">
                <a:gradFill>
                  <a:gsLst>
                    <a:gs pos="20354">
                      <a:schemeClr val="tx2"/>
                    </a:gs>
                    <a:gs pos="40000">
                      <a:schemeClr val="tx2"/>
                    </a:gs>
                  </a:gsLst>
                  <a:lin ang="5400000" scaled="0"/>
                </a:gradFill>
              </a:rPr>
              <a:t> </a:t>
            </a:r>
            <a:r>
              <a:rPr lang="en-US" sz="8000" spc="0" dirty="0" smtClean="0">
                <a:gradFill>
                  <a:gsLst>
                    <a:gs pos="20354">
                      <a:schemeClr val="tx2"/>
                    </a:gs>
                    <a:gs pos="40000">
                      <a:schemeClr val="tx2"/>
                    </a:gs>
                  </a:gsLst>
                  <a:lin ang="5400000" scaled="0"/>
                </a:gradFill>
              </a:rPr>
              <a:t>2</a:t>
            </a:r>
            <a:r>
              <a:rPr lang="en-US" sz="8000" dirty="0" smtClean="0"/>
              <a:t>Go</a:t>
            </a:r>
            <a:br>
              <a:rPr lang="en-US" sz="8000" dirty="0" smtClean="0"/>
            </a:br>
            <a:endParaRPr lang="en-US" sz="8000" dirty="0"/>
          </a:p>
        </p:txBody>
      </p:sp>
    </p:spTree>
    <p:extLst>
      <p:ext uri="{BB962C8B-B14F-4D97-AF65-F5344CB8AC3E}">
        <p14:creationId xmlns:p14="http://schemas.microsoft.com/office/powerpoint/2010/main" val="43167159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pic>
        <p:nvPicPr>
          <p:cNvPr id="3" name="RemoteNGC_cropped">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122238" y="68263"/>
            <a:ext cx="12192000" cy="6858000"/>
          </a:xfrm>
          <a:prstGeom prst="rect">
            <a:avLst/>
          </a:prstGeom>
        </p:spPr>
      </p:pic>
    </p:spTree>
    <p:extLst>
      <p:ext uri="{BB962C8B-B14F-4D97-AF65-F5344CB8AC3E}">
        <p14:creationId xmlns:p14="http://schemas.microsoft.com/office/powerpoint/2010/main" val="340242143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restart="whenNotActive" fill="hold" evtFilter="cancelBubble" nodeType="interactiveSeq">
                <p:stCondLst>
                  <p:cond evt="onClick" delay="0">
                    <p:tgtEl>
                      <p:spTgt spid="3"/>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3"/>
                                        </p:tgtEl>
                                      </p:cBhvr>
                                    </p:cmd>
                                  </p:childTnLst>
                                </p:cTn>
                              </p:par>
                            </p:childTnLst>
                          </p:cTn>
                        </p:par>
                      </p:childTnLst>
                    </p:cTn>
                  </p:par>
                </p:childTnLst>
              </p:cTn>
              <p:nextCondLst>
                <p:cond evt="onClick" delay="0">
                  <p:tgtEl>
                    <p:spTgt spid="3"/>
                  </p:tgtEl>
                </p:cond>
              </p:nextCondLst>
            </p:seq>
            <p:video>
              <p:cMediaNode vol="80000">
                <p:cTn id="7" fill="hold" display="0">
                  <p:stCondLst>
                    <p:cond delay="indefinite"/>
                  </p:stCondLst>
                </p:cTn>
                <p:tgtEl>
                  <p:spTgt spid="3"/>
                </p:tgtEl>
              </p:cMediaNode>
            </p:video>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9" y="2887662"/>
            <a:ext cx="11889564" cy="917575"/>
          </a:xfrm>
        </p:spPr>
        <p:txBody>
          <a:bodyPr/>
          <a:lstStyle/>
          <a:p>
            <a:r>
              <a:rPr lang="en-US" sz="8000" dirty="0" smtClean="0"/>
              <a:t>Passport</a:t>
            </a:r>
            <a:r>
              <a:rPr lang="en-US" sz="8000" spc="0" dirty="0" smtClean="0">
                <a:gradFill>
                  <a:gsLst>
                    <a:gs pos="20354">
                      <a:schemeClr val="tx2"/>
                    </a:gs>
                    <a:gs pos="40000">
                      <a:schemeClr val="tx2"/>
                    </a:gs>
                  </a:gsLst>
                  <a:lin ang="5400000" scaled="0"/>
                </a:gradFill>
              </a:rPr>
              <a:t> Story</a:t>
            </a:r>
            <a:r>
              <a:rPr lang="en-US" sz="8000" dirty="0" smtClean="0"/>
              <a:t/>
            </a:r>
            <a:br>
              <a:rPr lang="en-US" sz="8000" dirty="0" smtClean="0"/>
            </a:br>
            <a:endParaRPr lang="en-US" sz="8000" dirty="0"/>
          </a:p>
        </p:txBody>
      </p:sp>
    </p:spTree>
    <p:extLst>
      <p:ext uri="{BB962C8B-B14F-4D97-AF65-F5344CB8AC3E}">
        <p14:creationId xmlns:p14="http://schemas.microsoft.com/office/powerpoint/2010/main" val="179016772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95550" y="1"/>
            <a:ext cx="12638387" cy="7158276"/>
          </a:xfrm>
          <a:prstGeom prst="rect">
            <a:avLst/>
          </a:prstGeom>
        </p:spPr>
      </p:pic>
    </p:spTree>
    <p:extLst>
      <p:ext uri="{BB962C8B-B14F-4D97-AF65-F5344CB8AC3E}">
        <p14:creationId xmlns:p14="http://schemas.microsoft.com/office/powerpoint/2010/main" val="246684568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accent1">
            <a:lumMod val="75000"/>
          </a:schemeClr>
        </a:solidFill>
        <a:effectLst/>
      </p:bgPr>
    </p:bg>
    <p:spTree>
      <p:nvGrpSpPr>
        <p:cNvPr id="1" name=""/>
        <p:cNvGrpSpPr/>
        <p:nvPr/>
      </p:nvGrpSpPr>
      <p:grpSpPr>
        <a:xfrm>
          <a:off x="0" y="0"/>
          <a:ext cx="0" cy="0"/>
          <a:chOff x="0" y="0"/>
          <a:chExt cx="0" cy="0"/>
        </a:xfrm>
      </p:grpSpPr>
      <p:sp>
        <p:nvSpPr>
          <p:cNvPr id="3" name="Text Placeholder 3"/>
          <p:cNvSpPr txBox="1">
            <a:spLocks/>
          </p:cNvSpPr>
          <p:nvPr/>
        </p:nvSpPr>
        <p:spPr>
          <a:xfrm>
            <a:off x="1793228" y="1692843"/>
            <a:ext cx="8854875" cy="3941588"/>
          </a:xfrm>
          <a:prstGeom prst="rect">
            <a:avLst/>
          </a:prstGeom>
        </p:spPr>
        <p:txBody>
          <a:bodyPr/>
          <a:lstStyle>
            <a:lvl1pPr marL="457189" indent="-457189" algn="l" defTabSz="1219170" rtl="0" eaLnBrk="1" latinLnBrk="0" hangingPunct="1">
              <a:lnSpc>
                <a:spcPct val="85000"/>
              </a:lnSpc>
              <a:spcBef>
                <a:spcPts val="3200"/>
              </a:spcBef>
              <a:spcAft>
                <a:spcPts val="0"/>
              </a:spcAft>
              <a:buClr>
                <a:schemeClr val="tx2">
                  <a:lumMod val="60000"/>
                  <a:lumOff val="40000"/>
                </a:schemeClr>
              </a:buClr>
              <a:buSzPct val="100000"/>
              <a:buFont typeface="Wingdings" pitchFamily="2" charset="2"/>
              <a:buChar char="§"/>
              <a:defRPr sz="2667" kern="1200" spc="-93"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1pPr>
            <a:lvl2pPr marL="990575" indent="-380990" algn="l" defTabSz="1219170" rtl="0" eaLnBrk="1" latinLnBrk="0" hangingPunct="1">
              <a:lnSpc>
                <a:spcPct val="85000"/>
              </a:lnSpc>
              <a:spcBef>
                <a:spcPts val="800"/>
              </a:spcBef>
              <a:spcAft>
                <a:spcPts val="0"/>
              </a:spcAft>
              <a:buClr>
                <a:schemeClr val="tx2">
                  <a:lumMod val="60000"/>
                  <a:lumOff val="40000"/>
                </a:schemeClr>
              </a:buClr>
              <a:buSzPct val="100000"/>
              <a:buFont typeface="Wingdings" pitchFamily="2" charset="2"/>
              <a:buChar char="§"/>
              <a:defRPr sz="2667" kern="1200" spc="-93"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2pPr>
            <a:lvl3pPr marL="1523962" indent="-304792" algn="l" defTabSz="1219170" rtl="0" eaLnBrk="1" latinLnBrk="0" hangingPunct="1">
              <a:lnSpc>
                <a:spcPct val="85000"/>
              </a:lnSpc>
              <a:spcBef>
                <a:spcPts val="800"/>
              </a:spcBef>
              <a:spcAft>
                <a:spcPts val="0"/>
              </a:spcAft>
              <a:buClr>
                <a:schemeClr val="tx2">
                  <a:lumMod val="60000"/>
                  <a:lumOff val="40000"/>
                </a:schemeClr>
              </a:buClr>
              <a:buFont typeface="Wingdings" pitchFamily="2" charset="2"/>
              <a:buChar char="§"/>
              <a:defRPr sz="2400" kern="1200" spc="-93"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3pPr>
            <a:lvl4pPr marL="2133547" indent="-304792" algn="l" defTabSz="1219170" rtl="0" eaLnBrk="1" latinLnBrk="0" hangingPunct="1">
              <a:lnSpc>
                <a:spcPct val="85000"/>
              </a:lnSpc>
              <a:spcBef>
                <a:spcPts val="800"/>
              </a:spcBef>
              <a:spcAft>
                <a:spcPts val="0"/>
              </a:spcAft>
              <a:buClr>
                <a:schemeClr val="tx2">
                  <a:lumMod val="60000"/>
                  <a:lumOff val="40000"/>
                </a:schemeClr>
              </a:buClr>
              <a:buFont typeface="Wingdings" pitchFamily="2" charset="2"/>
              <a:buChar char="§"/>
              <a:defRPr sz="2400" kern="1200" spc="-93"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4pPr>
            <a:lvl5pPr marL="2743131" indent="-304792" algn="l" defTabSz="1219170" rtl="0" eaLnBrk="1" latinLnBrk="0" hangingPunct="1">
              <a:lnSpc>
                <a:spcPct val="85000"/>
              </a:lnSpc>
              <a:spcBef>
                <a:spcPts val="800"/>
              </a:spcBef>
              <a:spcAft>
                <a:spcPts val="0"/>
              </a:spcAft>
              <a:buClr>
                <a:schemeClr val="tx2">
                  <a:lumMod val="60000"/>
                  <a:lumOff val="40000"/>
                </a:schemeClr>
              </a:buClr>
              <a:buFont typeface="Wingdings" pitchFamily="2" charset="2"/>
              <a:buChar char="§"/>
              <a:defRPr sz="2400" kern="1200" spc="-93"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buClr>
                <a:srgbClr val="47D8FF">
                  <a:lumMod val="60000"/>
                  <a:lumOff val="40000"/>
                </a:srgbClr>
              </a:buClr>
            </a:pPr>
            <a:r>
              <a:rPr lang="en-US" sz="2400" dirty="0" smtClean="0">
                <a:solidFill>
                  <a:srgbClr val="FFFFFF"/>
                </a:solidFill>
              </a:rPr>
              <a:t>Irwin works </a:t>
            </a:r>
            <a:r>
              <a:rPr lang="en-US" sz="2400" dirty="0">
                <a:solidFill>
                  <a:srgbClr val="FFFFFF"/>
                </a:solidFill>
              </a:rPr>
              <a:t>for a company that provides consulting services to </a:t>
            </a:r>
            <a:r>
              <a:rPr lang="en-US" sz="2400" dirty="0" smtClean="0">
                <a:solidFill>
                  <a:srgbClr val="FFFFFF"/>
                </a:solidFill>
              </a:rPr>
              <a:t>Contoso</a:t>
            </a:r>
            <a:r>
              <a:rPr lang="en-US" sz="2400" dirty="0">
                <a:solidFill>
                  <a:srgbClr val="FFFFFF"/>
                </a:solidFill>
              </a:rPr>
              <a:t>… Contoso provides cloud-only accounts (Azure AD) to its partners when necessary… Irwin </a:t>
            </a:r>
            <a:r>
              <a:rPr lang="en-US" sz="2400" dirty="0" smtClean="0">
                <a:solidFill>
                  <a:srgbClr val="FFFFFF"/>
                </a:solidFill>
              </a:rPr>
              <a:t>has a </a:t>
            </a:r>
            <a:r>
              <a:rPr lang="en-US" sz="2400" dirty="0">
                <a:solidFill>
                  <a:srgbClr val="FFFFFF"/>
                </a:solidFill>
              </a:rPr>
              <a:t>long term engagement which requires </a:t>
            </a:r>
            <a:r>
              <a:rPr lang="en-US" sz="2400" dirty="0" smtClean="0">
                <a:solidFill>
                  <a:srgbClr val="FFFFFF"/>
                </a:solidFill>
              </a:rPr>
              <a:t>him </a:t>
            </a:r>
            <a:r>
              <a:rPr lang="en-US" sz="2400" dirty="0">
                <a:solidFill>
                  <a:srgbClr val="FFFFFF"/>
                </a:solidFill>
              </a:rPr>
              <a:t>to have an AAD Starbucks </a:t>
            </a:r>
            <a:r>
              <a:rPr lang="en-US" sz="2400" dirty="0" smtClean="0">
                <a:solidFill>
                  <a:srgbClr val="FFFFFF"/>
                </a:solidFill>
              </a:rPr>
              <a:t>account</a:t>
            </a:r>
            <a:endParaRPr lang="en-US" sz="2400" dirty="0">
              <a:solidFill>
                <a:srgbClr val="FFFFFF"/>
              </a:solidFill>
            </a:endParaRPr>
          </a:p>
          <a:p>
            <a:pPr>
              <a:buClr>
                <a:srgbClr val="47D8FF">
                  <a:lumMod val="60000"/>
                  <a:lumOff val="40000"/>
                </a:srgbClr>
              </a:buClr>
            </a:pPr>
            <a:r>
              <a:rPr lang="en-US" sz="2400" dirty="0">
                <a:solidFill>
                  <a:srgbClr val="FFFFFF"/>
                </a:solidFill>
              </a:rPr>
              <a:t>As part of </a:t>
            </a:r>
            <a:r>
              <a:rPr lang="en-US" sz="2400" dirty="0" smtClean="0">
                <a:solidFill>
                  <a:srgbClr val="FFFFFF"/>
                </a:solidFill>
              </a:rPr>
              <a:t>his engagement </a:t>
            </a:r>
            <a:r>
              <a:rPr lang="en-US" sz="2400" dirty="0">
                <a:solidFill>
                  <a:srgbClr val="FFFFFF"/>
                </a:solidFill>
              </a:rPr>
              <a:t>with Contoso he is given an allowance to purchase a device to use in Contoso related projects</a:t>
            </a:r>
          </a:p>
        </p:txBody>
      </p:sp>
    </p:spTree>
    <p:custDataLst>
      <p:tags r:id="rId1"/>
    </p:custDataLst>
    <p:extLst>
      <p:ext uri="{BB962C8B-B14F-4D97-AF65-F5344CB8AC3E}">
        <p14:creationId xmlns:p14="http://schemas.microsoft.com/office/powerpoint/2010/main" val="118466153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wipe(left)">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wipe(left)">
                                      <p:cBhvr>
                                        <p:cTn id="12" dur="500"/>
                                        <p:tgtEl>
                                          <p:spTgt spid="3">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5" name="Rectangle 24"/>
          <p:cNvSpPr/>
          <p:nvPr/>
        </p:nvSpPr>
        <p:spPr>
          <a:xfrm>
            <a:off x="9148078" y="5524439"/>
            <a:ext cx="1616512" cy="367167"/>
          </a:xfrm>
          <a:prstGeom prst="rect">
            <a:avLst/>
          </a:pr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66298"/>
            <a:r>
              <a:rPr lang="en-US" sz="1122" dirty="0">
                <a:solidFill>
                  <a:prstClr val="white"/>
                </a:solidFill>
                <a:cs typeface="Segoe UI" panose="020B0502040204020203" pitchFamily="34" charset="0"/>
              </a:rPr>
              <a:t>Next</a:t>
            </a:r>
          </a:p>
        </p:txBody>
      </p:sp>
      <p:sp>
        <p:nvSpPr>
          <p:cNvPr id="38" name="Rectangle 37"/>
          <p:cNvSpPr/>
          <p:nvPr/>
        </p:nvSpPr>
        <p:spPr>
          <a:xfrm>
            <a:off x="2128696" y="1933779"/>
            <a:ext cx="7019382" cy="21000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tlCol="0" anchor="t"/>
          <a:lstStyle/>
          <a:p>
            <a:pPr>
              <a:tabLst>
                <a:tab pos="3916906" algn="r"/>
              </a:tabLst>
            </a:pPr>
            <a:r>
              <a:rPr lang="en-US" sz="1122" dirty="0">
                <a:solidFill>
                  <a:prstClr val="black"/>
                </a:solidFill>
                <a:latin typeface="Segoe UI Light" panose="020B0502040204020203" pitchFamily="34" charset="0"/>
                <a:cs typeface="Segoe UI Light" panose="020B0502040204020203" pitchFamily="34" charset="0"/>
              </a:rPr>
              <a:t>This choice is important, and it isn’t easy to switch later. If this machine belongs to your organization, signing in with that ID will give you access to their resources.</a:t>
            </a:r>
          </a:p>
        </p:txBody>
      </p:sp>
      <p:sp>
        <p:nvSpPr>
          <p:cNvPr id="3" name="Rectangle 2"/>
          <p:cNvSpPr/>
          <p:nvPr/>
        </p:nvSpPr>
        <p:spPr>
          <a:xfrm>
            <a:off x="8696039" y="5303038"/>
            <a:ext cx="2080643" cy="6674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rgbClr val="FFFFFF"/>
              </a:solidFill>
            </a:endParaRPr>
          </a:p>
        </p:txBody>
      </p:sp>
      <p:sp>
        <p:nvSpPr>
          <p:cNvPr id="13" name="TextBox 12"/>
          <p:cNvSpPr txBox="1"/>
          <p:nvPr/>
        </p:nvSpPr>
        <p:spPr>
          <a:xfrm>
            <a:off x="2135472" y="1339289"/>
            <a:ext cx="8729420" cy="334071"/>
          </a:xfrm>
          <a:prstGeom prst="rect">
            <a:avLst/>
          </a:prstGeom>
          <a:noFill/>
        </p:spPr>
        <p:txBody>
          <a:bodyPr wrap="square" lIns="0" tIns="0" rIns="0" bIns="0" rtlCol="0" anchor="b" anchorCtr="0">
            <a:noAutofit/>
          </a:bodyPr>
          <a:lstStyle>
            <a:defPPr>
              <a:defRPr lang="en-US"/>
            </a:defPPr>
            <a:lvl1pPr>
              <a:defRPr sz="2000">
                <a:solidFill>
                  <a:srgbClr val="2672EC"/>
                </a:solidFill>
                <a:latin typeface="Segoe UI Light" panose="020B0502040204020203" pitchFamily="34" charset="0"/>
                <a:cs typeface="Segoe UI Light" panose="020B0502040204020203" pitchFamily="34" charset="0"/>
              </a:defRPr>
            </a:lvl1pPr>
          </a:lstStyle>
          <a:p>
            <a:r>
              <a:rPr lang="en-US" sz="2448" dirty="0"/>
              <a:t>Who owns this PC?</a:t>
            </a:r>
            <a:endParaRPr lang="en-US" sz="2040" dirty="0"/>
          </a:p>
        </p:txBody>
      </p:sp>
      <p:sp>
        <p:nvSpPr>
          <p:cNvPr id="16" name="Rectangle 3"/>
          <p:cNvSpPr/>
          <p:nvPr/>
        </p:nvSpPr>
        <p:spPr>
          <a:xfrm>
            <a:off x="9211480" y="5908175"/>
            <a:ext cx="1086897" cy="274418"/>
          </a:xfrm>
          <a:prstGeom prst="rect">
            <a:avLst/>
          </a:prstGeom>
          <a:solidFill>
            <a:srgbClr val="2672E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9891" tIns="27978" rIns="139891" bIns="27978" rtlCol="0" anchor="ctr" anchorCtr="0">
            <a:noAutofit/>
          </a:bodyPr>
          <a:lstStyle/>
          <a:p>
            <a:pPr algn="ctr"/>
            <a:r>
              <a:rPr lang="en-US" sz="1020" dirty="0">
                <a:solidFill>
                  <a:prstClr val="white"/>
                </a:solidFill>
                <a:cs typeface="Segoe UI" panose="020B0502040204020203" pitchFamily="34" charset="0"/>
              </a:rPr>
              <a:t>Next</a:t>
            </a:r>
          </a:p>
        </p:txBody>
      </p:sp>
      <p:sp>
        <p:nvSpPr>
          <p:cNvPr id="17" name="Rectangle 4"/>
          <p:cNvSpPr/>
          <p:nvPr/>
        </p:nvSpPr>
        <p:spPr>
          <a:xfrm>
            <a:off x="8010045" y="5908175"/>
            <a:ext cx="1081437" cy="274418"/>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9891" tIns="27978" rIns="139891" bIns="27978" rtlCol="0" anchor="ctr" anchorCtr="0">
            <a:noAutofit/>
          </a:bodyPr>
          <a:lstStyle/>
          <a:p>
            <a:pPr algn="ctr"/>
            <a:r>
              <a:rPr lang="en-US" sz="1020" dirty="0">
                <a:solidFill>
                  <a:prstClr val="white"/>
                </a:solidFill>
                <a:cs typeface="Segoe UI" panose="020B0502040204020203" pitchFamily="34" charset="0"/>
              </a:rPr>
              <a:t>Back</a:t>
            </a:r>
          </a:p>
        </p:txBody>
      </p:sp>
      <p:sp>
        <p:nvSpPr>
          <p:cNvPr id="20" name="Rectangle 7"/>
          <p:cNvSpPr/>
          <p:nvPr/>
        </p:nvSpPr>
        <p:spPr>
          <a:xfrm>
            <a:off x="2141734" y="3995536"/>
            <a:ext cx="2807752" cy="264202"/>
          </a:xfrm>
          <a:prstGeom prst="rect">
            <a:avLst/>
          </a:prstGeom>
          <a:noFill/>
        </p:spPr>
        <p:txBody>
          <a:bodyPr wrap="square" lIns="0" tIns="0" rIns="0" bIns="0" rtlCol="0">
            <a:spAutoFit/>
          </a:bodyPr>
          <a:lstStyle/>
          <a:p>
            <a:pPr>
              <a:lnSpc>
                <a:spcPct val="150000"/>
              </a:lnSpc>
            </a:pPr>
            <a:r>
              <a:rPr lang="en-US" sz="1122" dirty="0">
                <a:solidFill>
                  <a:srgbClr val="2672EC"/>
                </a:solidFill>
                <a:cs typeface="Segoe UI" panose="020B0502040204020203" pitchFamily="34" charset="0"/>
              </a:rPr>
              <a:t>Help me choose</a:t>
            </a:r>
          </a:p>
        </p:txBody>
      </p:sp>
      <p:sp>
        <p:nvSpPr>
          <p:cNvPr id="22" name="Rectangle 3"/>
          <p:cNvSpPr/>
          <p:nvPr/>
        </p:nvSpPr>
        <p:spPr>
          <a:xfrm>
            <a:off x="2833505" y="3287228"/>
            <a:ext cx="3492405" cy="2654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tlCol="0" anchor="ctr"/>
          <a:lstStyle/>
          <a:p>
            <a:pPr>
              <a:lnSpc>
                <a:spcPts val="1530"/>
              </a:lnSpc>
            </a:pPr>
            <a:r>
              <a:rPr lang="en-US" sz="1224" dirty="0">
                <a:solidFill>
                  <a:srgbClr val="FFFFFF"/>
                </a:solidFill>
                <a:latin typeface="Segoe UI Semibold" panose="020B0702040204020203" pitchFamily="34" charset="0"/>
                <a:cs typeface="Segoe UI Semibold" panose="020B0702040204020203" pitchFamily="34" charset="0"/>
              </a:rPr>
              <a:t>This device belongs to me</a:t>
            </a:r>
          </a:p>
        </p:txBody>
      </p:sp>
      <p:pic>
        <p:nvPicPr>
          <p:cNvPr id="2" name="Picture 1"/>
          <p:cNvPicPr>
            <a:picLocks noChangeAspect="1"/>
          </p:cNvPicPr>
          <p:nvPr/>
        </p:nvPicPr>
        <p:blipFill>
          <a:blip r:embed="rId3"/>
          <a:stretch>
            <a:fillRect/>
          </a:stretch>
        </p:blipFill>
        <p:spPr>
          <a:xfrm>
            <a:off x="1435406" y="2591128"/>
            <a:ext cx="352747" cy="335110"/>
          </a:xfrm>
          <a:prstGeom prst="rect">
            <a:avLst/>
          </a:prstGeom>
        </p:spPr>
      </p:pic>
      <p:sp>
        <p:nvSpPr>
          <p:cNvPr id="26" name="Rectangle 25"/>
          <p:cNvSpPr/>
          <p:nvPr/>
        </p:nvSpPr>
        <p:spPr>
          <a:xfrm>
            <a:off x="2241829" y="3167837"/>
            <a:ext cx="411652" cy="43884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rgbClr val="FFFFFF"/>
              </a:solidFill>
            </a:endParaRPr>
          </a:p>
        </p:txBody>
      </p:sp>
      <p:pic>
        <p:nvPicPr>
          <p:cNvPr id="6" name="Picture 5"/>
          <p:cNvPicPr>
            <a:picLocks noChangeAspect="1"/>
          </p:cNvPicPr>
          <p:nvPr/>
        </p:nvPicPr>
        <p:blipFill>
          <a:blip r:embed="rId4"/>
          <a:stretch>
            <a:fillRect/>
          </a:stretch>
        </p:blipFill>
        <p:spPr>
          <a:xfrm>
            <a:off x="2312592" y="3242446"/>
            <a:ext cx="277045" cy="289358"/>
          </a:xfrm>
          <a:prstGeom prst="rect">
            <a:avLst/>
          </a:prstGeom>
        </p:spPr>
      </p:pic>
      <p:sp>
        <p:nvSpPr>
          <p:cNvPr id="27" name="Rectangle 26"/>
          <p:cNvSpPr/>
          <p:nvPr/>
        </p:nvSpPr>
        <p:spPr>
          <a:xfrm>
            <a:off x="2189002" y="2481884"/>
            <a:ext cx="6052468" cy="520491"/>
          </a:xfrm>
          <a:prstGeom prst="rect">
            <a:avLst/>
          </a:prstGeom>
          <a:solidFill>
            <a:srgbClr val="3175BB">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24" dirty="0">
              <a:solidFill>
                <a:prstClr val="black"/>
              </a:solidFill>
              <a:cs typeface="Segoe UI" panose="020B0502040204020203" pitchFamily="34" charset="0"/>
            </a:endParaRPr>
          </a:p>
        </p:txBody>
      </p:sp>
      <p:sp>
        <p:nvSpPr>
          <p:cNvPr id="28" name="Rectangle 27"/>
          <p:cNvSpPr/>
          <p:nvPr/>
        </p:nvSpPr>
        <p:spPr>
          <a:xfrm>
            <a:off x="2892133" y="2646315"/>
            <a:ext cx="4594676" cy="2654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tlCol="0" anchor="ctr"/>
          <a:lstStyle/>
          <a:p>
            <a:pPr>
              <a:lnSpc>
                <a:spcPts val="1530"/>
              </a:lnSpc>
            </a:pPr>
            <a:r>
              <a:rPr lang="en-US" sz="1224" dirty="0">
                <a:solidFill>
                  <a:srgbClr val="FFFFFF"/>
                </a:solidFill>
                <a:latin typeface="Segoe UI Semibold" panose="020B0702040204020203" pitchFamily="34" charset="0"/>
                <a:cs typeface="Segoe UI Semibold" panose="020B0702040204020203" pitchFamily="34" charset="0"/>
              </a:rPr>
              <a:t>This device belongs to my organization</a:t>
            </a:r>
            <a:endParaRPr lang="en-US" sz="918" dirty="0">
              <a:solidFill>
                <a:srgbClr val="FFFFFF"/>
              </a:solidFill>
              <a:latin typeface="Segoe UI Semilight" panose="020B0402040204020203" pitchFamily="34" charset="0"/>
              <a:cs typeface="Segoe UI Semilight" panose="020B0402040204020203" pitchFamily="34" charset="0"/>
            </a:endParaRPr>
          </a:p>
        </p:txBody>
      </p:sp>
      <p:sp>
        <p:nvSpPr>
          <p:cNvPr id="21" name="Rectangle 20"/>
          <p:cNvSpPr/>
          <p:nvPr/>
        </p:nvSpPr>
        <p:spPr>
          <a:xfrm>
            <a:off x="2241829" y="2533253"/>
            <a:ext cx="411652" cy="43884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rgbClr val="FFFFFF"/>
              </a:solidFill>
            </a:endParaRPr>
          </a:p>
        </p:txBody>
      </p:sp>
      <p:pic>
        <p:nvPicPr>
          <p:cNvPr id="5" name="Picture 4"/>
          <p:cNvPicPr>
            <a:picLocks noChangeAspect="1"/>
          </p:cNvPicPr>
          <p:nvPr/>
        </p:nvPicPr>
        <p:blipFill>
          <a:blip r:embed="rId5"/>
          <a:stretch>
            <a:fillRect/>
          </a:stretch>
        </p:blipFill>
        <p:spPr>
          <a:xfrm>
            <a:off x="2336482" y="2631367"/>
            <a:ext cx="244034" cy="238224"/>
          </a:xfrm>
          <a:prstGeom prst="rect">
            <a:avLst/>
          </a:prstGeom>
        </p:spPr>
      </p:pic>
      <p:sp>
        <p:nvSpPr>
          <p:cNvPr id="29" name="Shape 3907"/>
          <p:cNvSpPr/>
          <p:nvPr/>
        </p:nvSpPr>
        <p:spPr>
          <a:xfrm>
            <a:off x="2135472" y="5982632"/>
            <a:ext cx="44225" cy="65126"/>
          </a:xfrm>
          <a:custGeom>
            <a:avLst/>
            <a:gdLst/>
            <a:ahLst/>
            <a:cxnLst/>
            <a:rect l="0" t="0" r="0" b="0"/>
            <a:pathLst>
              <a:path w="47879" h="74155">
                <a:moveTo>
                  <a:pt x="29756" y="0"/>
                </a:moveTo>
                <a:lnTo>
                  <a:pt x="47879" y="18123"/>
                </a:lnTo>
                <a:cubicBezTo>
                  <a:pt x="35827" y="34086"/>
                  <a:pt x="27813" y="48755"/>
                  <a:pt x="25502" y="74155"/>
                </a:cubicBezTo>
                <a:lnTo>
                  <a:pt x="0" y="74155"/>
                </a:lnTo>
                <a:cubicBezTo>
                  <a:pt x="2515" y="48755"/>
                  <a:pt x="13246" y="20739"/>
                  <a:pt x="29756" y="0"/>
                </a:cubicBezTo>
                <a:close/>
              </a:path>
            </a:pathLst>
          </a:custGeom>
          <a:ln w="0" cap="flat">
            <a:miter lim="127000"/>
          </a:ln>
        </p:spPr>
        <p:style>
          <a:lnRef idx="0">
            <a:srgbClr val="000000">
              <a:alpha val="0"/>
            </a:srgbClr>
          </a:lnRef>
          <a:fillRef idx="1">
            <a:srgbClr val="000000"/>
          </a:fillRef>
          <a:effectRef idx="0">
            <a:scrgbClr r="0" g="0" b="0"/>
          </a:effectRef>
          <a:fontRef idx="none"/>
        </p:style>
        <p:txBody>
          <a:bodyPr/>
          <a:lstStyle/>
          <a:p>
            <a:endParaRPr lang="en-US" sz="1836">
              <a:solidFill>
                <a:srgbClr val="FFFFFF"/>
              </a:solidFill>
            </a:endParaRPr>
          </a:p>
        </p:txBody>
      </p:sp>
      <p:sp>
        <p:nvSpPr>
          <p:cNvPr id="30" name="Shape 3908"/>
          <p:cNvSpPr/>
          <p:nvPr/>
        </p:nvSpPr>
        <p:spPr>
          <a:xfrm>
            <a:off x="2183695" y="5936788"/>
            <a:ext cx="68497" cy="42050"/>
          </a:xfrm>
          <a:custGeom>
            <a:avLst/>
            <a:gdLst/>
            <a:ahLst/>
            <a:cxnLst/>
            <a:rect l="0" t="0" r="0" b="0"/>
            <a:pathLst>
              <a:path w="74155" h="47879">
                <a:moveTo>
                  <a:pt x="74155" y="0"/>
                </a:moveTo>
                <a:lnTo>
                  <a:pt x="74155" y="25502"/>
                </a:lnTo>
                <a:cubicBezTo>
                  <a:pt x="48755" y="27813"/>
                  <a:pt x="34087" y="35827"/>
                  <a:pt x="18123" y="47879"/>
                </a:cubicBezTo>
                <a:lnTo>
                  <a:pt x="0" y="29756"/>
                </a:lnTo>
                <a:cubicBezTo>
                  <a:pt x="20739" y="13246"/>
                  <a:pt x="48755" y="2515"/>
                  <a:pt x="74155" y="0"/>
                </a:cubicBezTo>
                <a:close/>
              </a:path>
            </a:pathLst>
          </a:custGeom>
          <a:ln w="0" cap="flat">
            <a:miter lim="127000"/>
          </a:ln>
        </p:spPr>
        <p:style>
          <a:lnRef idx="0">
            <a:srgbClr val="000000">
              <a:alpha val="0"/>
            </a:srgbClr>
          </a:lnRef>
          <a:fillRef idx="1">
            <a:srgbClr val="000000"/>
          </a:fillRef>
          <a:effectRef idx="0">
            <a:scrgbClr r="0" g="0" b="0"/>
          </a:effectRef>
          <a:fontRef idx="none"/>
        </p:style>
        <p:txBody>
          <a:bodyPr/>
          <a:lstStyle/>
          <a:p>
            <a:endParaRPr lang="en-US" sz="1836">
              <a:solidFill>
                <a:srgbClr val="FFFFFF"/>
              </a:solidFill>
            </a:endParaRPr>
          </a:p>
        </p:txBody>
      </p:sp>
      <p:sp>
        <p:nvSpPr>
          <p:cNvPr id="31" name="Shape 3909"/>
          <p:cNvSpPr/>
          <p:nvPr/>
        </p:nvSpPr>
        <p:spPr>
          <a:xfrm>
            <a:off x="2135472" y="6070067"/>
            <a:ext cx="44225" cy="65126"/>
          </a:xfrm>
          <a:custGeom>
            <a:avLst/>
            <a:gdLst/>
            <a:ahLst/>
            <a:cxnLst/>
            <a:rect l="0" t="0" r="0" b="0"/>
            <a:pathLst>
              <a:path w="47879" h="74155">
                <a:moveTo>
                  <a:pt x="0" y="0"/>
                </a:moveTo>
                <a:lnTo>
                  <a:pt x="25502" y="0"/>
                </a:lnTo>
                <a:cubicBezTo>
                  <a:pt x="27813" y="25400"/>
                  <a:pt x="35827" y="40069"/>
                  <a:pt x="47879" y="56032"/>
                </a:cubicBezTo>
                <a:lnTo>
                  <a:pt x="29756" y="74155"/>
                </a:lnTo>
                <a:cubicBezTo>
                  <a:pt x="13246" y="53416"/>
                  <a:pt x="2515" y="25400"/>
                  <a:pt x="0" y="0"/>
                </a:cubicBezTo>
                <a:close/>
              </a:path>
            </a:pathLst>
          </a:custGeom>
          <a:ln w="0" cap="flat">
            <a:miter lim="127000"/>
          </a:ln>
        </p:spPr>
        <p:style>
          <a:lnRef idx="0">
            <a:srgbClr val="000000">
              <a:alpha val="0"/>
            </a:srgbClr>
          </a:lnRef>
          <a:fillRef idx="1">
            <a:srgbClr val="000000"/>
          </a:fillRef>
          <a:effectRef idx="0">
            <a:scrgbClr r="0" g="0" b="0"/>
          </a:effectRef>
          <a:fontRef idx="none"/>
        </p:style>
        <p:txBody>
          <a:bodyPr/>
          <a:lstStyle/>
          <a:p>
            <a:endParaRPr lang="en-US" sz="1836">
              <a:solidFill>
                <a:srgbClr val="FFFFFF"/>
              </a:solidFill>
            </a:endParaRPr>
          </a:p>
        </p:txBody>
      </p:sp>
      <p:sp>
        <p:nvSpPr>
          <p:cNvPr id="32" name="Shape 3910"/>
          <p:cNvSpPr/>
          <p:nvPr/>
        </p:nvSpPr>
        <p:spPr>
          <a:xfrm>
            <a:off x="2348140" y="6070067"/>
            <a:ext cx="44225" cy="65126"/>
          </a:xfrm>
          <a:custGeom>
            <a:avLst/>
            <a:gdLst/>
            <a:ahLst/>
            <a:cxnLst/>
            <a:rect l="0" t="0" r="0" b="0"/>
            <a:pathLst>
              <a:path w="47879" h="74155">
                <a:moveTo>
                  <a:pt x="22377" y="0"/>
                </a:moveTo>
                <a:lnTo>
                  <a:pt x="47879" y="0"/>
                </a:lnTo>
                <a:cubicBezTo>
                  <a:pt x="45364" y="25400"/>
                  <a:pt x="34633" y="53416"/>
                  <a:pt x="18123" y="74155"/>
                </a:cubicBezTo>
                <a:lnTo>
                  <a:pt x="0" y="56032"/>
                </a:lnTo>
                <a:cubicBezTo>
                  <a:pt x="12052" y="40069"/>
                  <a:pt x="20066" y="25400"/>
                  <a:pt x="22377" y="0"/>
                </a:cubicBezTo>
                <a:close/>
              </a:path>
            </a:pathLst>
          </a:custGeom>
          <a:ln w="0" cap="flat">
            <a:miter lim="127000"/>
          </a:ln>
        </p:spPr>
        <p:style>
          <a:lnRef idx="0">
            <a:srgbClr val="000000">
              <a:alpha val="0"/>
            </a:srgbClr>
          </a:lnRef>
          <a:fillRef idx="1">
            <a:srgbClr val="000000"/>
          </a:fillRef>
          <a:effectRef idx="0">
            <a:scrgbClr r="0" g="0" b="0"/>
          </a:effectRef>
          <a:fontRef idx="none"/>
        </p:style>
        <p:txBody>
          <a:bodyPr/>
          <a:lstStyle/>
          <a:p>
            <a:endParaRPr lang="en-US" sz="1836">
              <a:solidFill>
                <a:srgbClr val="FFFFFF"/>
              </a:solidFill>
            </a:endParaRPr>
          </a:p>
        </p:txBody>
      </p:sp>
      <p:sp>
        <p:nvSpPr>
          <p:cNvPr id="33" name="Shape 3911"/>
          <p:cNvSpPr/>
          <p:nvPr/>
        </p:nvSpPr>
        <p:spPr>
          <a:xfrm>
            <a:off x="2183691" y="6138990"/>
            <a:ext cx="68497" cy="42050"/>
          </a:xfrm>
          <a:custGeom>
            <a:avLst/>
            <a:gdLst/>
            <a:ahLst/>
            <a:cxnLst/>
            <a:rect l="0" t="0" r="0" b="0"/>
            <a:pathLst>
              <a:path w="74155" h="47879">
                <a:moveTo>
                  <a:pt x="18123" y="0"/>
                </a:moveTo>
                <a:cubicBezTo>
                  <a:pt x="34087" y="12040"/>
                  <a:pt x="48755" y="20066"/>
                  <a:pt x="74155" y="22378"/>
                </a:cubicBezTo>
                <a:lnTo>
                  <a:pt x="74155" y="47879"/>
                </a:lnTo>
                <a:cubicBezTo>
                  <a:pt x="48755" y="45365"/>
                  <a:pt x="20739" y="34634"/>
                  <a:pt x="0" y="18123"/>
                </a:cubicBezTo>
                <a:lnTo>
                  <a:pt x="18123" y="0"/>
                </a:lnTo>
                <a:close/>
              </a:path>
            </a:pathLst>
          </a:custGeom>
          <a:ln w="0" cap="flat">
            <a:miter lim="127000"/>
          </a:ln>
        </p:spPr>
        <p:style>
          <a:lnRef idx="0">
            <a:srgbClr val="000000">
              <a:alpha val="0"/>
            </a:srgbClr>
          </a:lnRef>
          <a:fillRef idx="1">
            <a:srgbClr val="000000"/>
          </a:fillRef>
          <a:effectRef idx="0">
            <a:scrgbClr r="0" g="0" b="0"/>
          </a:effectRef>
          <a:fontRef idx="none"/>
        </p:style>
        <p:txBody>
          <a:bodyPr/>
          <a:lstStyle/>
          <a:p>
            <a:endParaRPr lang="en-US" sz="1836">
              <a:solidFill>
                <a:srgbClr val="FFFFFF"/>
              </a:solidFill>
            </a:endParaRPr>
          </a:p>
        </p:txBody>
      </p:sp>
      <p:sp>
        <p:nvSpPr>
          <p:cNvPr id="34" name="Shape 3912"/>
          <p:cNvSpPr/>
          <p:nvPr/>
        </p:nvSpPr>
        <p:spPr>
          <a:xfrm>
            <a:off x="2275644" y="6138988"/>
            <a:ext cx="68497" cy="42050"/>
          </a:xfrm>
          <a:custGeom>
            <a:avLst/>
            <a:gdLst/>
            <a:ahLst/>
            <a:cxnLst/>
            <a:rect l="0" t="0" r="0" b="0"/>
            <a:pathLst>
              <a:path w="74155" h="47879">
                <a:moveTo>
                  <a:pt x="56032" y="0"/>
                </a:moveTo>
                <a:lnTo>
                  <a:pt x="74155" y="18123"/>
                </a:lnTo>
                <a:cubicBezTo>
                  <a:pt x="53416" y="34633"/>
                  <a:pt x="25400" y="45365"/>
                  <a:pt x="0" y="47879"/>
                </a:cubicBezTo>
                <a:lnTo>
                  <a:pt x="0" y="22378"/>
                </a:lnTo>
                <a:cubicBezTo>
                  <a:pt x="25400" y="20066"/>
                  <a:pt x="40068" y="12052"/>
                  <a:pt x="56032" y="0"/>
                </a:cubicBezTo>
                <a:close/>
              </a:path>
            </a:pathLst>
          </a:custGeom>
          <a:ln w="0" cap="flat">
            <a:miter lim="127000"/>
          </a:ln>
        </p:spPr>
        <p:style>
          <a:lnRef idx="0">
            <a:srgbClr val="000000">
              <a:alpha val="0"/>
            </a:srgbClr>
          </a:lnRef>
          <a:fillRef idx="1">
            <a:srgbClr val="000000"/>
          </a:fillRef>
          <a:effectRef idx="0">
            <a:scrgbClr r="0" g="0" b="0"/>
          </a:effectRef>
          <a:fontRef idx="none"/>
        </p:style>
        <p:txBody>
          <a:bodyPr/>
          <a:lstStyle/>
          <a:p>
            <a:endParaRPr lang="en-US" sz="1836">
              <a:solidFill>
                <a:srgbClr val="FFFFFF"/>
              </a:solidFill>
            </a:endParaRPr>
          </a:p>
        </p:txBody>
      </p:sp>
      <p:sp>
        <p:nvSpPr>
          <p:cNvPr id="35" name="Shape 3913"/>
          <p:cNvSpPr/>
          <p:nvPr/>
        </p:nvSpPr>
        <p:spPr>
          <a:xfrm>
            <a:off x="2416420" y="5991991"/>
            <a:ext cx="46924" cy="89231"/>
          </a:xfrm>
          <a:custGeom>
            <a:avLst/>
            <a:gdLst/>
            <a:ahLst/>
            <a:cxnLst/>
            <a:rect l="0" t="0" r="0" b="0"/>
            <a:pathLst>
              <a:path w="50800" h="101600">
                <a:moveTo>
                  <a:pt x="0" y="0"/>
                </a:moveTo>
                <a:lnTo>
                  <a:pt x="50800" y="50800"/>
                </a:lnTo>
                <a:lnTo>
                  <a:pt x="0" y="101600"/>
                </a:lnTo>
                <a:lnTo>
                  <a:pt x="0" y="0"/>
                </a:lnTo>
                <a:close/>
              </a:path>
            </a:pathLst>
          </a:custGeom>
          <a:ln w="0" cap="flat">
            <a:miter lim="127000"/>
          </a:ln>
        </p:spPr>
        <p:style>
          <a:lnRef idx="0">
            <a:srgbClr val="000000">
              <a:alpha val="0"/>
            </a:srgbClr>
          </a:lnRef>
          <a:fillRef idx="1">
            <a:srgbClr val="000000"/>
          </a:fillRef>
          <a:effectRef idx="0">
            <a:scrgbClr r="0" g="0" b="0"/>
          </a:effectRef>
          <a:fontRef idx="none"/>
        </p:style>
        <p:txBody>
          <a:bodyPr/>
          <a:lstStyle/>
          <a:p>
            <a:endParaRPr lang="en-US" sz="1836">
              <a:solidFill>
                <a:srgbClr val="FFFFFF"/>
              </a:solidFill>
            </a:endParaRPr>
          </a:p>
        </p:txBody>
      </p:sp>
      <p:sp>
        <p:nvSpPr>
          <p:cNvPr id="36" name="Shape 3914"/>
          <p:cNvSpPr/>
          <p:nvPr/>
        </p:nvSpPr>
        <p:spPr>
          <a:xfrm>
            <a:off x="2334304" y="6025452"/>
            <a:ext cx="82117" cy="22307"/>
          </a:xfrm>
          <a:custGeom>
            <a:avLst/>
            <a:gdLst/>
            <a:ahLst/>
            <a:cxnLst/>
            <a:rect l="0" t="0" r="0" b="0"/>
            <a:pathLst>
              <a:path w="88900" h="25400">
                <a:moveTo>
                  <a:pt x="25400" y="0"/>
                </a:moveTo>
                <a:lnTo>
                  <a:pt x="88900" y="0"/>
                </a:lnTo>
                <a:lnTo>
                  <a:pt x="88900" y="25400"/>
                </a:lnTo>
                <a:lnTo>
                  <a:pt x="0" y="25400"/>
                </a:lnTo>
                <a:lnTo>
                  <a:pt x="25400" y="0"/>
                </a:lnTo>
                <a:close/>
              </a:path>
            </a:pathLst>
          </a:custGeom>
          <a:ln w="0" cap="flat">
            <a:miter lim="127000"/>
          </a:ln>
        </p:spPr>
        <p:style>
          <a:lnRef idx="0">
            <a:srgbClr val="000000">
              <a:alpha val="0"/>
            </a:srgbClr>
          </a:lnRef>
          <a:fillRef idx="1">
            <a:srgbClr val="000000"/>
          </a:fillRef>
          <a:effectRef idx="0">
            <a:scrgbClr r="0" g="0" b="0"/>
          </a:effectRef>
          <a:fontRef idx="none"/>
        </p:style>
        <p:txBody>
          <a:bodyPr/>
          <a:lstStyle/>
          <a:p>
            <a:endParaRPr lang="en-US" sz="1836">
              <a:solidFill>
                <a:srgbClr val="FFFFFF"/>
              </a:solidFill>
            </a:endParaRPr>
          </a:p>
        </p:txBody>
      </p:sp>
      <p:sp>
        <p:nvSpPr>
          <p:cNvPr id="37" name="Shape 3915"/>
          <p:cNvSpPr/>
          <p:nvPr/>
        </p:nvSpPr>
        <p:spPr>
          <a:xfrm>
            <a:off x="2240456" y="6014298"/>
            <a:ext cx="93848" cy="44615"/>
          </a:xfrm>
          <a:custGeom>
            <a:avLst/>
            <a:gdLst/>
            <a:ahLst/>
            <a:cxnLst/>
            <a:rect l="0" t="0" r="0" b="0"/>
            <a:pathLst>
              <a:path w="101600" h="50800">
                <a:moveTo>
                  <a:pt x="0" y="0"/>
                </a:moveTo>
                <a:lnTo>
                  <a:pt x="101600" y="0"/>
                </a:lnTo>
                <a:lnTo>
                  <a:pt x="50800" y="50800"/>
                </a:lnTo>
                <a:lnTo>
                  <a:pt x="0" y="0"/>
                </a:lnTo>
                <a:close/>
              </a:path>
            </a:pathLst>
          </a:custGeom>
          <a:ln w="0" cap="flat">
            <a:miter lim="127000"/>
          </a:ln>
        </p:spPr>
        <p:style>
          <a:lnRef idx="0">
            <a:srgbClr val="000000">
              <a:alpha val="0"/>
            </a:srgbClr>
          </a:lnRef>
          <a:fillRef idx="1">
            <a:srgbClr val="000000"/>
          </a:fillRef>
          <a:effectRef idx="0">
            <a:scrgbClr r="0" g="0" b="0"/>
          </a:effectRef>
          <a:fontRef idx="none"/>
        </p:style>
        <p:txBody>
          <a:bodyPr/>
          <a:lstStyle/>
          <a:p>
            <a:endParaRPr lang="en-US" sz="1836">
              <a:solidFill>
                <a:srgbClr val="FFFFFF"/>
              </a:solidFill>
            </a:endParaRPr>
          </a:p>
        </p:txBody>
      </p:sp>
      <p:sp>
        <p:nvSpPr>
          <p:cNvPr id="40" name="Shape 66805"/>
          <p:cNvSpPr/>
          <p:nvPr/>
        </p:nvSpPr>
        <p:spPr>
          <a:xfrm>
            <a:off x="2275649" y="5891606"/>
            <a:ext cx="23462" cy="122692"/>
          </a:xfrm>
          <a:custGeom>
            <a:avLst/>
            <a:gdLst/>
            <a:ahLst/>
            <a:cxnLst/>
            <a:rect l="0" t="0" r="0" b="0"/>
            <a:pathLst>
              <a:path w="25400" h="139700">
                <a:moveTo>
                  <a:pt x="0" y="0"/>
                </a:moveTo>
                <a:lnTo>
                  <a:pt x="25400" y="0"/>
                </a:lnTo>
                <a:lnTo>
                  <a:pt x="25400" y="139700"/>
                </a:lnTo>
                <a:lnTo>
                  <a:pt x="0" y="139700"/>
                </a:lnTo>
                <a:lnTo>
                  <a:pt x="0" y="0"/>
                </a:lnTo>
              </a:path>
            </a:pathLst>
          </a:custGeom>
          <a:ln w="0" cap="flat">
            <a:miter lim="127000"/>
          </a:ln>
        </p:spPr>
        <p:style>
          <a:lnRef idx="0">
            <a:srgbClr val="000000">
              <a:alpha val="0"/>
            </a:srgbClr>
          </a:lnRef>
          <a:fillRef idx="1">
            <a:srgbClr val="000000"/>
          </a:fillRef>
          <a:effectRef idx="0">
            <a:scrgbClr r="0" g="0" b="0"/>
          </a:effectRef>
          <a:fontRef idx="none"/>
        </p:style>
        <p:txBody>
          <a:bodyPr/>
          <a:lstStyle/>
          <a:p>
            <a:endParaRPr lang="en-US" sz="1836">
              <a:solidFill>
                <a:srgbClr val="FFFFFF"/>
              </a:solidFill>
            </a:endParaRPr>
          </a:p>
        </p:txBody>
      </p:sp>
      <p:sp>
        <p:nvSpPr>
          <p:cNvPr id="59" name="TextBox 58"/>
          <p:cNvSpPr txBox="1"/>
          <p:nvPr/>
        </p:nvSpPr>
        <p:spPr>
          <a:xfrm>
            <a:off x="882" y="-900310"/>
            <a:ext cx="12434711" cy="476479"/>
          </a:xfrm>
          <a:prstGeom prst="rect">
            <a:avLst/>
          </a:prstGeom>
          <a:solidFill>
            <a:schemeClr val="accent6">
              <a:lumMod val="75000"/>
            </a:schemeClr>
          </a:solidFill>
        </p:spPr>
        <p:txBody>
          <a:bodyPr wrap="square" lIns="93260" tIns="93260" bIns="93260" rtlCol="0">
            <a:spAutoFit/>
          </a:bodyPr>
          <a:lstStyle>
            <a:defPPr>
              <a:defRPr lang="en-US"/>
            </a:defPPr>
            <a:lvl1pPr>
              <a:defRPr>
                <a:solidFill>
                  <a:schemeClr val="bg1"/>
                </a:solidFill>
                <a:latin typeface="Segoe UI" panose="020B0502040204020203" pitchFamily="34" charset="0"/>
                <a:cs typeface="Segoe UI" panose="020B0502040204020203" pitchFamily="34" charset="0"/>
              </a:defRPr>
            </a:lvl1pPr>
          </a:lstStyle>
          <a:p>
            <a:r>
              <a:rPr lang="en-US" sz="1836" dirty="0">
                <a:solidFill>
                  <a:srgbClr val="000000"/>
                </a:solidFill>
              </a:rPr>
              <a:t>Screen painted by Membership team</a:t>
            </a:r>
          </a:p>
        </p:txBody>
      </p:sp>
      <p:grpSp>
        <p:nvGrpSpPr>
          <p:cNvPr id="60" name="Group 59"/>
          <p:cNvGrpSpPr/>
          <p:nvPr/>
        </p:nvGrpSpPr>
        <p:grpSpPr>
          <a:xfrm>
            <a:off x="-190601" y="-221990"/>
            <a:ext cx="12815205" cy="7943206"/>
            <a:chOff x="-187745" y="-217657"/>
            <a:chExt cx="12565067" cy="7788164"/>
          </a:xfrm>
        </p:grpSpPr>
        <p:sp>
          <p:nvSpPr>
            <p:cNvPr id="61" name="Rounded Rectangle 60"/>
            <p:cNvSpPr/>
            <p:nvPr/>
          </p:nvSpPr>
          <p:spPr>
            <a:xfrm>
              <a:off x="-187745" y="6908696"/>
              <a:ext cx="12565067" cy="661811"/>
            </a:xfrm>
            <a:prstGeom prst="roundRect">
              <a:avLst>
                <a:gd name="adj" fmla="val 12372"/>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rgbClr val="FFFFFF"/>
                </a:solidFill>
              </a:endParaRPr>
            </a:p>
          </p:txBody>
        </p:sp>
        <p:pic>
          <p:nvPicPr>
            <p:cNvPr id="62" name="Picture 61"/>
            <p:cNvPicPr>
              <a:picLocks noChangeAspect="1"/>
            </p:cNvPicPr>
            <p:nvPr/>
          </p:nvPicPr>
          <p:blipFill rotWithShape="1">
            <a:blip r:embed="rId6" cstate="print">
              <a:extLst>
                <a:ext uri="{28A0092B-C50C-407E-A947-70E740481C1C}">
                  <a14:useLocalDpi xmlns:a14="http://schemas.microsoft.com/office/drawing/2010/main" val="0"/>
                </a:ext>
              </a:extLst>
            </a:blip>
            <a:srcRect l="15890" t="13026" r="15630" b="12506"/>
            <a:stretch/>
          </p:blipFill>
          <p:spPr>
            <a:xfrm>
              <a:off x="5991714" y="6982364"/>
              <a:ext cx="419714" cy="456419"/>
            </a:xfrm>
            <a:prstGeom prst="rect">
              <a:avLst/>
            </a:prstGeom>
          </p:spPr>
        </p:pic>
        <p:sp>
          <p:nvSpPr>
            <p:cNvPr id="63" name="Rounded Rectangle 62"/>
            <p:cNvSpPr/>
            <p:nvPr/>
          </p:nvSpPr>
          <p:spPr>
            <a:xfrm>
              <a:off x="-187744" y="-217657"/>
              <a:ext cx="12565066" cy="178973"/>
            </a:xfrm>
            <a:prstGeom prst="roundRect">
              <a:avLst>
                <a:gd name="adj" fmla="val 50000"/>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rgbClr val="FFFFFF"/>
                </a:solidFill>
              </a:endParaRPr>
            </a:p>
          </p:txBody>
        </p:sp>
        <p:sp>
          <p:nvSpPr>
            <p:cNvPr id="64" name="Rounded Rectangle 63"/>
            <p:cNvSpPr/>
            <p:nvPr/>
          </p:nvSpPr>
          <p:spPr>
            <a:xfrm>
              <a:off x="-187744" y="-155574"/>
              <a:ext cx="149644" cy="7431138"/>
            </a:xfrm>
            <a:prstGeom prst="roundRect">
              <a:avLst>
                <a:gd name="adj" fmla="val 37018"/>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rgbClr val="FFFFFF"/>
                </a:solidFill>
              </a:endParaRPr>
            </a:p>
          </p:txBody>
        </p:sp>
        <p:sp>
          <p:nvSpPr>
            <p:cNvPr id="65" name="Rounded Rectangle 64"/>
            <p:cNvSpPr/>
            <p:nvPr/>
          </p:nvSpPr>
          <p:spPr>
            <a:xfrm>
              <a:off x="12227678" y="-155574"/>
              <a:ext cx="149644" cy="7431138"/>
            </a:xfrm>
            <a:prstGeom prst="roundRect">
              <a:avLst>
                <a:gd name="adj" fmla="val 37018"/>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rgbClr val="FFFFFF"/>
                </a:solidFill>
              </a:endParaRPr>
            </a:p>
          </p:txBody>
        </p:sp>
      </p:grpSp>
      <p:pic>
        <p:nvPicPr>
          <p:cNvPr id="4" name="Picture 3"/>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7977" y="-39454"/>
            <a:ext cx="12509958" cy="7085683"/>
          </a:xfrm>
          <a:prstGeom prst="rect">
            <a:avLst/>
          </a:prstGeom>
          <a:solidFill>
            <a:srgbClr val="005A9E"/>
          </a:solidFill>
          <a:ln>
            <a:noFill/>
          </a:ln>
        </p:spPr>
      </p:pic>
    </p:spTree>
    <p:extLst>
      <p:ext uri="{BB962C8B-B14F-4D97-AF65-F5344CB8AC3E}">
        <p14:creationId xmlns:p14="http://schemas.microsoft.com/office/powerpoint/2010/main" val="313036041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9" name="TextBox 48"/>
          <p:cNvSpPr txBox="1"/>
          <p:nvPr/>
        </p:nvSpPr>
        <p:spPr>
          <a:xfrm>
            <a:off x="882" y="-900310"/>
            <a:ext cx="12434711" cy="476479"/>
          </a:xfrm>
          <a:prstGeom prst="rect">
            <a:avLst/>
          </a:prstGeom>
          <a:solidFill>
            <a:schemeClr val="accent6">
              <a:lumMod val="75000"/>
            </a:schemeClr>
          </a:solidFill>
        </p:spPr>
        <p:txBody>
          <a:bodyPr wrap="square" lIns="93260" tIns="93260" bIns="93260" rtlCol="0">
            <a:spAutoFit/>
          </a:bodyPr>
          <a:lstStyle>
            <a:defPPr>
              <a:defRPr lang="en-US"/>
            </a:defPPr>
            <a:lvl1pPr>
              <a:defRPr>
                <a:solidFill>
                  <a:schemeClr val="bg1"/>
                </a:solidFill>
                <a:latin typeface="Segoe UI" panose="020B0502040204020203" pitchFamily="34" charset="0"/>
                <a:cs typeface="Segoe UI" panose="020B0502040204020203" pitchFamily="34" charset="0"/>
              </a:defRPr>
            </a:lvl1pPr>
          </a:lstStyle>
          <a:p>
            <a:r>
              <a:rPr lang="en-US" sz="1836" dirty="0">
                <a:solidFill>
                  <a:srgbClr val="000000"/>
                </a:solidFill>
              </a:rPr>
              <a:t>Screen painted by IDX team</a:t>
            </a:r>
          </a:p>
        </p:txBody>
      </p:sp>
      <p:grpSp>
        <p:nvGrpSpPr>
          <p:cNvPr id="2" name="Group 1"/>
          <p:cNvGrpSpPr/>
          <p:nvPr/>
        </p:nvGrpSpPr>
        <p:grpSpPr>
          <a:xfrm>
            <a:off x="-190601" y="-221990"/>
            <a:ext cx="12815205" cy="7943206"/>
            <a:chOff x="-187745" y="-217657"/>
            <a:chExt cx="12565067" cy="7788164"/>
          </a:xfrm>
        </p:grpSpPr>
        <p:sp>
          <p:nvSpPr>
            <p:cNvPr id="46" name="Rounded Rectangle 45"/>
            <p:cNvSpPr/>
            <p:nvPr/>
          </p:nvSpPr>
          <p:spPr>
            <a:xfrm>
              <a:off x="-187745" y="6908696"/>
              <a:ext cx="12565067" cy="661811"/>
            </a:xfrm>
            <a:prstGeom prst="roundRect">
              <a:avLst>
                <a:gd name="adj" fmla="val 12372"/>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rgbClr val="FFFFFF"/>
                </a:solidFill>
              </a:endParaRPr>
            </a:p>
          </p:txBody>
        </p:sp>
        <p:pic>
          <p:nvPicPr>
            <p:cNvPr id="48" name="Picture 47"/>
            <p:cNvPicPr>
              <a:picLocks noChangeAspect="1"/>
            </p:cNvPicPr>
            <p:nvPr/>
          </p:nvPicPr>
          <p:blipFill rotWithShape="1">
            <a:blip r:embed="rId3" cstate="print">
              <a:extLst>
                <a:ext uri="{28A0092B-C50C-407E-A947-70E740481C1C}">
                  <a14:useLocalDpi xmlns:a14="http://schemas.microsoft.com/office/drawing/2010/main" val="0"/>
                </a:ext>
              </a:extLst>
            </a:blip>
            <a:srcRect l="15890" t="13026" r="15630" b="12506"/>
            <a:stretch/>
          </p:blipFill>
          <p:spPr>
            <a:xfrm>
              <a:off x="5991714" y="6982364"/>
              <a:ext cx="419714" cy="456419"/>
            </a:xfrm>
            <a:prstGeom prst="rect">
              <a:avLst/>
            </a:prstGeom>
          </p:spPr>
        </p:pic>
        <p:sp>
          <p:nvSpPr>
            <p:cNvPr id="50" name="Rounded Rectangle 49"/>
            <p:cNvSpPr/>
            <p:nvPr/>
          </p:nvSpPr>
          <p:spPr>
            <a:xfrm>
              <a:off x="-187744" y="-217657"/>
              <a:ext cx="12565066" cy="178973"/>
            </a:xfrm>
            <a:prstGeom prst="roundRect">
              <a:avLst>
                <a:gd name="adj" fmla="val 50000"/>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rgbClr val="FFFFFF"/>
                </a:solidFill>
              </a:endParaRPr>
            </a:p>
          </p:txBody>
        </p:sp>
        <p:sp>
          <p:nvSpPr>
            <p:cNvPr id="51" name="Rounded Rectangle 50"/>
            <p:cNvSpPr/>
            <p:nvPr/>
          </p:nvSpPr>
          <p:spPr>
            <a:xfrm>
              <a:off x="-187744" y="-155574"/>
              <a:ext cx="149644" cy="7431138"/>
            </a:xfrm>
            <a:prstGeom prst="roundRect">
              <a:avLst>
                <a:gd name="adj" fmla="val 37018"/>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rgbClr val="FFFFFF"/>
                </a:solidFill>
              </a:endParaRPr>
            </a:p>
          </p:txBody>
        </p:sp>
        <p:sp>
          <p:nvSpPr>
            <p:cNvPr id="52" name="Rounded Rectangle 51"/>
            <p:cNvSpPr/>
            <p:nvPr/>
          </p:nvSpPr>
          <p:spPr>
            <a:xfrm>
              <a:off x="12227678" y="-155574"/>
              <a:ext cx="149644" cy="7431138"/>
            </a:xfrm>
            <a:prstGeom prst="roundRect">
              <a:avLst>
                <a:gd name="adj" fmla="val 37018"/>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rgbClr val="FFFFFF"/>
                </a:solidFill>
              </a:endParaRPr>
            </a:p>
          </p:txBody>
        </p:sp>
      </p:grpSp>
      <p:sp>
        <p:nvSpPr>
          <p:cNvPr id="26" name="Rectangle 25"/>
          <p:cNvSpPr/>
          <p:nvPr/>
        </p:nvSpPr>
        <p:spPr>
          <a:xfrm>
            <a:off x="-37977" y="-39453"/>
            <a:ext cx="12509958" cy="7085684"/>
          </a:xfrm>
          <a:prstGeom prst="rect">
            <a:avLst/>
          </a:prstGeom>
          <a:solidFill>
            <a:srgbClr val="005A9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rgbClr val="FFFFFF"/>
              </a:solidFill>
            </a:endParaRPr>
          </a:p>
        </p:txBody>
      </p:sp>
      <p:sp>
        <p:nvSpPr>
          <p:cNvPr id="27" name="Rectangle 1"/>
          <p:cNvSpPr/>
          <p:nvPr/>
        </p:nvSpPr>
        <p:spPr>
          <a:xfrm>
            <a:off x="9211480" y="5908175"/>
            <a:ext cx="1086897" cy="274418"/>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9891" tIns="27978" rIns="139891" bIns="27978" rtlCol="0" anchor="ctr" anchorCtr="0">
            <a:noAutofit/>
          </a:bodyPr>
          <a:lstStyle/>
          <a:p>
            <a:pPr algn="ctr" defTabSz="466298"/>
            <a:r>
              <a:rPr lang="en-US" sz="1020" dirty="0">
                <a:solidFill>
                  <a:prstClr val="white"/>
                </a:solidFill>
                <a:cs typeface="Segoe UI" panose="020B0502040204020203" pitchFamily="34" charset="0"/>
              </a:rPr>
              <a:t>Continue</a:t>
            </a:r>
          </a:p>
        </p:txBody>
      </p:sp>
      <p:sp>
        <p:nvSpPr>
          <p:cNvPr id="28" name="Rectangle 2"/>
          <p:cNvSpPr/>
          <p:nvPr/>
        </p:nvSpPr>
        <p:spPr>
          <a:xfrm>
            <a:off x="8010045" y="5908175"/>
            <a:ext cx="1081437" cy="274418"/>
          </a:xfrm>
          <a:prstGeom prst="rect">
            <a:avLst/>
          </a:prstGeom>
          <a:solidFill>
            <a:srgbClr val="3078A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9891" tIns="27978" rIns="139891" bIns="27978" rtlCol="0" anchor="ctr" anchorCtr="0">
            <a:noAutofit/>
          </a:bodyPr>
          <a:lstStyle/>
          <a:p>
            <a:pPr algn="ctr" defTabSz="466298"/>
            <a:r>
              <a:rPr lang="en-US" sz="1020" dirty="0">
                <a:solidFill>
                  <a:prstClr val="white"/>
                </a:solidFill>
                <a:cs typeface="Segoe UI" panose="020B0502040204020203" pitchFamily="34" charset="0"/>
              </a:rPr>
              <a:t>Back</a:t>
            </a:r>
          </a:p>
        </p:txBody>
      </p:sp>
      <p:sp>
        <p:nvSpPr>
          <p:cNvPr id="38" name="Rectangle 37"/>
          <p:cNvSpPr/>
          <p:nvPr/>
        </p:nvSpPr>
        <p:spPr>
          <a:xfrm>
            <a:off x="2135472" y="1933779"/>
            <a:ext cx="6350349" cy="6806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tlCol="0" anchor="t"/>
          <a:lstStyle/>
          <a:p>
            <a:pPr>
              <a:tabLst>
                <a:tab pos="3916906" algn="r"/>
              </a:tabLst>
            </a:pPr>
            <a:r>
              <a:rPr lang="en-US" sz="1122" dirty="0">
                <a:solidFill>
                  <a:srgbClr val="FFFFFF"/>
                </a:solidFill>
                <a:cs typeface="Segoe UI" panose="020B0502040204020203" pitchFamily="34" charset="0"/>
              </a:rPr>
              <a:t>You can connect Windows to your organization in one of two ways:</a:t>
            </a:r>
          </a:p>
        </p:txBody>
      </p:sp>
      <p:pic>
        <p:nvPicPr>
          <p:cNvPr id="65" name="Picture 64"/>
          <p:cNvPicPr>
            <a:picLocks noChangeAspect="1"/>
          </p:cNvPicPr>
          <p:nvPr/>
        </p:nvPicPr>
        <p:blipFill rotWithShape="1">
          <a:blip r:embed="rId4">
            <a:extLst>
              <a:ext uri="{28A0092B-C50C-407E-A947-70E740481C1C}">
                <a14:useLocalDpi xmlns:a14="http://schemas.microsoft.com/office/drawing/2010/main" val="0"/>
              </a:ext>
            </a:extLst>
          </a:blip>
          <a:srcRect r="55112"/>
          <a:stretch/>
        </p:blipFill>
        <p:spPr>
          <a:xfrm>
            <a:off x="2049385" y="5827011"/>
            <a:ext cx="443297" cy="438917"/>
          </a:xfrm>
          <a:prstGeom prst="rect">
            <a:avLst/>
          </a:prstGeom>
        </p:spPr>
      </p:pic>
      <p:grpSp>
        <p:nvGrpSpPr>
          <p:cNvPr id="3" name="Group 2"/>
          <p:cNvGrpSpPr/>
          <p:nvPr/>
        </p:nvGrpSpPr>
        <p:grpSpPr>
          <a:xfrm>
            <a:off x="2135472" y="2305756"/>
            <a:ext cx="3714433" cy="810795"/>
            <a:chOff x="2114607" y="2260750"/>
            <a:chExt cx="3641932" cy="794969"/>
          </a:xfrm>
        </p:grpSpPr>
        <p:sp>
          <p:nvSpPr>
            <p:cNvPr id="19" name="Rectangle 18"/>
            <p:cNvSpPr/>
            <p:nvPr/>
          </p:nvSpPr>
          <p:spPr>
            <a:xfrm>
              <a:off x="2136288" y="2280437"/>
              <a:ext cx="3160642" cy="400436"/>
            </a:xfrm>
            <a:prstGeom prst="rect">
              <a:avLst/>
            </a:prstGeom>
            <a:solidFill>
              <a:srgbClr val="0065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rgbClr val="FFFFFF"/>
                </a:solidFill>
              </a:endParaRPr>
            </a:p>
          </p:txBody>
        </p:sp>
        <p:sp>
          <p:nvSpPr>
            <p:cNvPr id="20" name="Rectangle 19"/>
            <p:cNvSpPr/>
            <p:nvPr/>
          </p:nvSpPr>
          <p:spPr>
            <a:xfrm>
              <a:off x="2502889" y="2665467"/>
              <a:ext cx="3253650" cy="3778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tabLst>
                  <a:tab pos="3916906" algn="r"/>
                </a:tabLst>
              </a:pPr>
              <a:r>
                <a:rPr lang="en-US" sz="1122" dirty="0">
                  <a:solidFill>
                    <a:srgbClr val="FFFFFF"/>
                  </a:solidFill>
                  <a:cs typeface="Segoe UI" panose="020B0502040204020203" pitchFamily="34" charset="0"/>
                </a:rPr>
                <a:t>Set up a local account (domain join later)</a:t>
              </a:r>
            </a:p>
          </p:txBody>
        </p:sp>
        <p:sp>
          <p:nvSpPr>
            <p:cNvPr id="21" name="Rectangle 20"/>
            <p:cNvSpPr/>
            <p:nvPr/>
          </p:nvSpPr>
          <p:spPr>
            <a:xfrm>
              <a:off x="2496846" y="2280437"/>
              <a:ext cx="1966735" cy="3778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tabLst>
                  <a:tab pos="3916906" algn="r"/>
                </a:tabLst>
              </a:pPr>
              <a:r>
                <a:rPr lang="en-US" sz="1122" dirty="0">
                  <a:solidFill>
                    <a:srgbClr val="FFFFFF"/>
                  </a:solidFill>
                  <a:cs typeface="Segoe UI" panose="020B0502040204020203" pitchFamily="34" charset="0"/>
                </a:rPr>
                <a:t>Join to Azure AD</a:t>
              </a:r>
            </a:p>
          </p:txBody>
        </p:sp>
        <p:sp>
          <p:nvSpPr>
            <p:cNvPr id="23" name="TextBox 22"/>
            <p:cNvSpPr txBox="1"/>
            <p:nvPr/>
          </p:nvSpPr>
          <p:spPr>
            <a:xfrm>
              <a:off x="2114607" y="2680873"/>
              <a:ext cx="447642" cy="374846"/>
            </a:xfrm>
            <a:prstGeom prst="rect">
              <a:avLst/>
            </a:prstGeom>
            <a:noFill/>
          </p:spPr>
          <p:txBody>
            <a:bodyPr wrap="square" rtlCol="0">
              <a:spAutoFit/>
            </a:bodyPr>
            <a:lstStyle/>
            <a:p>
              <a:r>
                <a:rPr lang="en-US" sz="1836" dirty="0">
                  <a:solidFill>
                    <a:srgbClr val="000000"/>
                  </a:solidFill>
                  <a:latin typeface="Segoe MDL2 Assets" panose="050A0102010101010101" pitchFamily="18" charset="0"/>
                </a:rPr>
                <a:t></a:t>
              </a:r>
            </a:p>
          </p:txBody>
        </p:sp>
        <p:sp>
          <p:nvSpPr>
            <p:cNvPr id="24" name="TextBox 23"/>
            <p:cNvSpPr txBox="1"/>
            <p:nvPr/>
          </p:nvSpPr>
          <p:spPr>
            <a:xfrm>
              <a:off x="2114607" y="2260750"/>
              <a:ext cx="481822" cy="406265"/>
            </a:xfrm>
            <a:prstGeom prst="rect">
              <a:avLst/>
            </a:prstGeom>
            <a:noFill/>
          </p:spPr>
          <p:txBody>
            <a:bodyPr wrap="square" rtlCol="0">
              <a:spAutoFit/>
            </a:bodyPr>
            <a:lstStyle/>
            <a:p>
              <a:r>
                <a:rPr lang="en-US" sz="2040" dirty="0">
                  <a:solidFill>
                    <a:srgbClr val="000000"/>
                  </a:solidFill>
                  <a:latin typeface="Segoe MDL2 Assets" panose="050A0102010101010101" pitchFamily="18" charset="0"/>
                </a:rPr>
                <a:t></a:t>
              </a:r>
            </a:p>
          </p:txBody>
        </p:sp>
      </p:grpSp>
      <p:sp>
        <p:nvSpPr>
          <p:cNvPr id="29" name="TextBox 28"/>
          <p:cNvSpPr txBox="1"/>
          <p:nvPr/>
        </p:nvSpPr>
        <p:spPr>
          <a:xfrm>
            <a:off x="2135472" y="1315545"/>
            <a:ext cx="5695604" cy="334071"/>
          </a:xfrm>
          <a:prstGeom prst="rect">
            <a:avLst/>
          </a:prstGeom>
          <a:noFill/>
        </p:spPr>
        <p:txBody>
          <a:bodyPr wrap="square" lIns="0" tIns="0" rIns="0" bIns="0" rtlCol="0" anchor="b" anchorCtr="0">
            <a:noAutofit/>
          </a:bodyPr>
          <a:lstStyle>
            <a:defPPr>
              <a:defRPr lang="en-US"/>
            </a:defPPr>
            <a:lvl1pPr>
              <a:defRPr sz="2000">
                <a:solidFill>
                  <a:srgbClr val="2672EC"/>
                </a:solidFill>
                <a:latin typeface="Segoe UI Light" panose="020B0502040204020203" pitchFamily="34" charset="0"/>
                <a:cs typeface="Segoe UI Light" panose="020B0502040204020203" pitchFamily="34" charset="0"/>
              </a:defRPr>
            </a:lvl1pPr>
          </a:lstStyle>
          <a:p>
            <a:pPr defTabSz="466298"/>
            <a:r>
              <a:rPr lang="en-US" sz="2448" dirty="0">
                <a:solidFill>
                  <a:srgbClr val="FFFFFF"/>
                </a:solidFill>
              </a:rPr>
              <a:t>Choose how you’ll connect</a:t>
            </a:r>
          </a:p>
        </p:txBody>
      </p:sp>
      <p:sp>
        <p:nvSpPr>
          <p:cNvPr id="31" name="Rectangle 30"/>
          <p:cNvSpPr/>
          <p:nvPr/>
        </p:nvSpPr>
        <p:spPr>
          <a:xfrm>
            <a:off x="2135472" y="3282499"/>
            <a:ext cx="6350349" cy="6806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tlCol="0" anchor="t"/>
          <a:lstStyle/>
          <a:p>
            <a:pPr>
              <a:tabLst>
                <a:tab pos="3916906" algn="r"/>
              </a:tabLst>
            </a:pPr>
            <a:r>
              <a:rPr lang="en-US" sz="1122" dirty="0">
                <a:solidFill>
                  <a:srgbClr val="FFFFFF"/>
                </a:solidFill>
                <a:cs typeface="Segoe UI" panose="020B0502040204020203" pitchFamily="34" charset="0"/>
              </a:rPr>
              <a:t>Choose this option if your organization uses Office 365 or other business services from Microsoft. Your organization might collect info about you, install or remove apps, change settings or disable features, delete content, or reset your device. Talk to your support staff to learn more.</a:t>
            </a:r>
          </a:p>
        </p:txBody>
      </p:sp>
    </p:spTree>
    <p:extLst>
      <p:ext uri="{BB962C8B-B14F-4D97-AF65-F5344CB8AC3E}">
        <p14:creationId xmlns:p14="http://schemas.microsoft.com/office/powerpoint/2010/main" val="74529942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6" name="TextBox 45"/>
          <p:cNvSpPr txBox="1"/>
          <p:nvPr/>
        </p:nvSpPr>
        <p:spPr>
          <a:xfrm>
            <a:off x="882" y="-900310"/>
            <a:ext cx="12434711" cy="476479"/>
          </a:xfrm>
          <a:prstGeom prst="rect">
            <a:avLst/>
          </a:prstGeom>
          <a:solidFill>
            <a:schemeClr val="accent6">
              <a:lumMod val="75000"/>
            </a:schemeClr>
          </a:solidFill>
        </p:spPr>
        <p:txBody>
          <a:bodyPr wrap="square" lIns="93260" tIns="93260" bIns="93260" rtlCol="0">
            <a:spAutoFit/>
          </a:bodyPr>
          <a:lstStyle/>
          <a:p>
            <a:r>
              <a:rPr lang="en-US" sz="1836" dirty="0">
                <a:solidFill>
                  <a:srgbClr val="000000"/>
                </a:solidFill>
                <a:cs typeface="Segoe UI" panose="020B0502040204020203" pitchFamily="34" charset="0"/>
              </a:rPr>
              <a:t>AAD sign in page, username entry</a:t>
            </a:r>
          </a:p>
        </p:txBody>
      </p:sp>
      <p:grpSp>
        <p:nvGrpSpPr>
          <p:cNvPr id="55" name="Group 54"/>
          <p:cNvGrpSpPr/>
          <p:nvPr/>
        </p:nvGrpSpPr>
        <p:grpSpPr>
          <a:xfrm>
            <a:off x="-190601" y="-221990"/>
            <a:ext cx="12815205" cy="7943206"/>
            <a:chOff x="-187745" y="-217657"/>
            <a:chExt cx="12565067" cy="7788164"/>
          </a:xfrm>
        </p:grpSpPr>
        <p:sp>
          <p:nvSpPr>
            <p:cNvPr id="56" name="Rounded Rectangle 55"/>
            <p:cNvSpPr/>
            <p:nvPr/>
          </p:nvSpPr>
          <p:spPr>
            <a:xfrm>
              <a:off x="-187745" y="6908696"/>
              <a:ext cx="12565067" cy="661811"/>
            </a:xfrm>
            <a:prstGeom prst="roundRect">
              <a:avLst>
                <a:gd name="adj" fmla="val 12372"/>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rgbClr val="FFFFFF"/>
                </a:solidFill>
              </a:endParaRPr>
            </a:p>
          </p:txBody>
        </p:sp>
        <p:pic>
          <p:nvPicPr>
            <p:cNvPr id="59" name="Picture 58"/>
            <p:cNvPicPr>
              <a:picLocks noChangeAspect="1"/>
            </p:cNvPicPr>
            <p:nvPr/>
          </p:nvPicPr>
          <p:blipFill rotWithShape="1">
            <a:blip r:embed="rId3" cstate="print">
              <a:extLst>
                <a:ext uri="{28A0092B-C50C-407E-A947-70E740481C1C}">
                  <a14:useLocalDpi xmlns:a14="http://schemas.microsoft.com/office/drawing/2010/main" val="0"/>
                </a:ext>
              </a:extLst>
            </a:blip>
            <a:srcRect l="15890" t="13026" r="15630" b="12506"/>
            <a:stretch/>
          </p:blipFill>
          <p:spPr>
            <a:xfrm>
              <a:off x="5991714" y="6982364"/>
              <a:ext cx="419714" cy="456419"/>
            </a:xfrm>
            <a:prstGeom prst="rect">
              <a:avLst/>
            </a:prstGeom>
          </p:spPr>
        </p:pic>
        <p:sp>
          <p:nvSpPr>
            <p:cNvPr id="70" name="Rounded Rectangle 69"/>
            <p:cNvSpPr/>
            <p:nvPr/>
          </p:nvSpPr>
          <p:spPr>
            <a:xfrm>
              <a:off x="-187744" y="-217657"/>
              <a:ext cx="12565066" cy="178973"/>
            </a:xfrm>
            <a:prstGeom prst="roundRect">
              <a:avLst>
                <a:gd name="adj" fmla="val 50000"/>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rgbClr val="FFFFFF"/>
                </a:solidFill>
              </a:endParaRPr>
            </a:p>
          </p:txBody>
        </p:sp>
        <p:sp>
          <p:nvSpPr>
            <p:cNvPr id="71" name="Rounded Rectangle 70"/>
            <p:cNvSpPr/>
            <p:nvPr/>
          </p:nvSpPr>
          <p:spPr>
            <a:xfrm>
              <a:off x="-187744" y="-155574"/>
              <a:ext cx="149644" cy="7431138"/>
            </a:xfrm>
            <a:prstGeom prst="roundRect">
              <a:avLst>
                <a:gd name="adj" fmla="val 37018"/>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rgbClr val="FFFFFF"/>
                </a:solidFill>
              </a:endParaRPr>
            </a:p>
          </p:txBody>
        </p:sp>
        <p:sp>
          <p:nvSpPr>
            <p:cNvPr id="72" name="Rounded Rectangle 71"/>
            <p:cNvSpPr/>
            <p:nvPr/>
          </p:nvSpPr>
          <p:spPr>
            <a:xfrm>
              <a:off x="12227678" y="-155574"/>
              <a:ext cx="149644" cy="7431138"/>
            </a:xfrm>
            <a:prstGeom prst="roundRect">
              <a:avLst>
                <a:gd name="adj" fmla="val 37018"/>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rgbClr val="FFFFFF"/>
                </a:solidFill>
              </a:endParaRPr>
            </a:p>
          </p:txBody>
        </p:sp>
      </p:grpSp>
      <p:sp>
        <p:nvSpPr>
          <p:cNvPr id="73" name="Rectangle 72"/>
          <p:cNvSpPr/>
          <p:nvPr/>
        </p:nvSpPr>
        <p:spPr>
          <a:xfrm>
            <a:off x="-37977" y="-39453"/>
            <a:ext cx="12509958" cy="7085684"/>
          </a:xfrm>
          <a:prstGeom prst="rect">
            <a:avLst/>
          </a:prstGeom>
          <a:solidFill>
            <a:srgbClr val="005A9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rgbClr val="FFFFFF"/>
              </a:solidFill>
            </a:endParaRPr>
          </a:p>
        </p:txBody>
      </p:sp>
      <p:sp>
        <p:nvSpPr>
          <p:cNvPr id="53" name="Rectangle 1"/>
          <p:cNvSpPr/>
          <p:nvPr/>
        </p:nvSpPr>
        <p:spPr>
          <a:xfrm>
            <a:off x="9211480" y="5908175"/>
            <a:ext cx="1086897" cy="274418"/>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9891" tIns="27978" rIns="139891" bIns="27978" rtlCol="0" anchor="ctr" anchorCtr="0">
            <a:noAutofit/>
          </a:bodyPr>
          <a:lstStyle/>
          <a:p>
            <a:pPr algn="ctr" defTabSz="466298"/>
            <a:r>
              <a:rPr lang="en-US" sz="1020" dirty="0">
                <a:solidFill>
                  <a:prstClr val="white"/>
                </a:solidFill>
                <a:cs typeface="Segoe UI" panose="020B0502040204020203" pitchFamily="34" charset="0"/>
              </a:rPr>
              <a:t>Sign in</a:t>
            </a:r>
          </a:p>
        </p:txBody>
      </p:sp>
      <p:sp>
        <p:nvSpPr>
          <p:cNvPr id="54" name="Rectangle 2"/>
          <p:cNvSpPr/>
          <p:nvPr/>
        </p:nvSpPr>
        <p:spPr>
          <a:xfrm>
            <a:off x="8010045" y="5908175"/>
            <a:ext cx="1081437" cy="274418"/>
          </a:xfrm>
          <a:prstGeom prst="rect">
            <a:avLst/>
          </a:prstGeom>
          <a:solidFill>
            <a:srgbClr val="3078A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9891" tIns="27978" rIns="139891" bIns="27978" rtlCol="0" anchor="ctr" anchorCtr="0">
            <a:noAutofit/>
          </a:bodyPr>
          <a:lstStyle/>
          <a:p>
            <a:pPr algn="ctr" defTabSz="466298"/>
            <a:r>
              <a:rPr lang="en-US" sz="1020" dirty="0">
                <a:solidFill>
                  <a:prstClr val="white"/>
                </a:solidFill>
                <a:cs typeface="Segoe UI" panose="020B0502040204020203" pitchFamily="34" charset="0"/>
              </a:rPr>
              <a:t>Back</a:t>
            </a:r>
          </a:p>
        </p:txBody>
      </p:sp>
      <p:sp>
        <p:nvSpPr>
          <p:cNvPr id="58" name="Rectangle 3"/>
          <p:cNvSpPr/>
          <p:nvPr/>
        </p:nvSpPr>
        <p:spPr>
          <a:xfrm>
            <a:off x="2135472" y="5412530"/>
            <a:ext cx="2807752" cy="201814"/>
          </a:xfrm>
          <a:prstGeom prst="rect">
            <a:avLst/>
          </a:prstGeom>
          <a:noFill/>
        </p:spPr>
        <p:txBody>
          <a:bodyPr wrap="square" lIns="0" tIns="0" rIns="0" bIns="0" rtlCol="0">
            <a:spAutoFit/>
          </a:bodyPr>
          <a:lstStyle/>
          <a:p>
            <a:pPr defTabSz="466298">
              <a:lnSpc>
                <a:spcPct val="150000"/>
              </a:lnSpc>
            </a:pPr>
            <a:r>
              <a:rPr lang="en-US" sz="857" dirty="0">
                <a:solidFill>
                  <a:srgbClr val="A6D8FF"/>
                </a:solidFill>
                <a:ea typeface="Segoe UI" panose="020B0502040204020203" pitchFamily="34" charset="0"/>
                <a:cs typeface="Segoe UI" panose="020B0502040204020203" pitchFamily="34" charset="0"/>
              </a:rPr>
              <a:t>Privacy statement</a:t>
            </a:r>
          </a:p>
        </p:txBody>
      </p:sp>
      <p:sp>
        <p:nvSpPr>
          <p:cNvPr id="64" name="Rectangle 63"/>
          <p:cNvSpPr/>
          <p:nvPr/>
        </p:nvSpPr>
        <p:spPr>
          <a:xfrm>
            <a:off x="2135473" y="2673746"/>
            <a:ext cx="2807753" cy="275226"/>
          </a:xfrm>
          <a:prstGeom prst="rect">
            <a:avLst/>
          </a:prstGeom>
          <a:solidFill>
            <a:schemeClr val="tx1">
              <a:alpha val="40000"/>
            </a:schemeClr>
          </a:solidFill>
          <a:ln w="15875">
            <a:solidFill>
              <a:schemeClr val="bg1">
                <a:alpha val="40000"/>
              </a:schemeClr>
            </a:solidFill>
          </a:ln>
        </p:spPr>
        <p:txBody>
          <a:bodyPr wrap="square" lIns="93260" tIns="0" rIns="0" bIns="0" rtlCol="0" anchor="ctr">
            <a:noAutofit/>
          </a:bodyPr>
          <a:lstStyle/>
          <a:p>
            <a:r>
              <a:rPr lang="en-US" sz="1091" spc="-10" dirty="0">
                <a:solidFill>
                  <a:srgbClr val="000000">
                    <a:alpha val="40000"/>
                  </a:srgbClr>
                </a:solidFill>
                <a:ea typeface="Segoe UI" panose="020B0502040204020203" pitchFamily="34" charset="0"/>
                <a:cs typeface="Segoe UI" panose="020B0502040204020203" pitchFamily="34" charset="0"/>
              </a:rPr>
              <a:t>Password</a:t>
            </a:r>
          </a:p>
        </p:txBody>
      </p:sp>
      <p:pic>
        <p:nvPicPr>
          <p:cNvPr id="65" name="Picture 6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049385" y="5827011"/>
            <a:ext cx="987564" cy="438917"/>
          </a:xfrm>
          <a:prstGeom prst="rect">
            <a:avLst/>
          </a:prstGeom>
        </p:spPr>
      </p:pic>
      <p:sp>
        <p:nvSpPr>
          <p:cNvPr id="67" name="TextBox 66"/>
          <p:cNvSpPr txBox="1"/>
          <p:nvPr/>
        </p:nvSpPr>
        <p:spPr>
          <a:xfrm>
            <a:off x="2135472" y="2225811"/>
            <a:ext cx="2807752" cy="274437"/>
          </a:xfrm>
          <a:prstGeom prst="rect">
            <a:avLst/>
          </a:prstGeom>
          <a:solidFill>
            <a:schemeClr val="bg1"/>
          </a:solidFill>
          <a:ln w="15875">
            <a:solidFill>
              <a:srgbClr val="0078D7"/>
            </a:solidFill>
          </a:ln>
        </p:spPr>
        <p:txBody>
          <a:bodyPr wrap="square" lIns="93260" tIns="0" rIns="0" bIns="0" rtlCol="0" anchor="ctr">
            <a:noAutofit/>
          </a:bodyPr>
          <a:lstStyle/>
          <a:p>
            <a:r>
              <a:rPr lang="en-US" sz="1091" spc="-10" dirty="0" smtClean="0">
                <a:solidFill>
                  <a:srgbClr val="FFFFFF"/>
                </a:solidFill>
                <a:ea typeface="Segoe UI" panose="020B0502040204020203" pitchFamily="34" charset="0"/>
                <a:cs typeface="Segoe UI" panose="020B0502040204020203" pitchFamily="34" charset="0"/>
              </a:rPr>
              <a:t>irwiin@starbucks.com</a:t>
            </a:r>
            <a:endParaRPr lang="en-US" sz="1091" spc="-10" dirty="0">
              <a:solidFill>
                <a:srgbClr val="FFFFFF"/>
              </a:solidFill>
              <a:ea typeface="Segoe UI" panose="020B0502040204020203" pitchFamily="34" charset="0"/>
              <a:cs typeface="Segoe UI" panose="020B0502040204020203" pitchFamily="34" charset="0"/>
            </a:endParaRPr>
          </a:p>
        </p:txBody>
      </p:sp>
      <p:sp>
        <p:nvSpPr>
          <p:cNvPr id="23" name="TextBox 22"/>
          <p:cNvSpPr txBox="1"/>
          <p:nvPr/>
        </p:nvSpPr>
        <p:spPr>
          <a:xfrm>
            <a:off x="2135472" y="1315545"/>
            <a:ext cx="5695604" cy="334071"/>
          </a:xfrm>
          <a:prstGeom prst="rect">
            <a:avLst/>
          </a:prstGeom>
          <a:noFill/>
        </p:spPr>
        <p:txBody>
          <a:bodyPr wrap="square" lIns="0" tIns="0" rIns="0" bIns="0" rtlCol="0" anchor="b" anchorCtr="0">
            <a:noAutofit/>
          </a:bodyPr>
          <a:lstStyle>
            <a:defPPr>
              <a:defRPr lang="en-US"/>
            </a:defPPr>
            <a:lvl1pPr>
              <a:defRPr sz="2000">
                <a:solidFill>
                  <a:srgbClr val="2672EC"/>
                </a:solidFill>
                <a:latin typeface="Segoe UI Light" panose="020B0502040204020203" pitchFamily="34" charset="0"/>
                <a:cs typeface="Segoe UI Light" panose="020B0502040204020203" pitchFamily="34" charset="0"/>
              </a:defRPr>
            </a:lvl1pPr>
          </a:lstStyle>
          <a:p>
            <a:pPr defTabSz="466298"/>
            <a:r>
              <a:rPr lang="en-US" sz="2448" dirty="0">
                <a:solidFill>
                  <a:srgbClr val="FFFFFF"/>
                </a:solidFill>
              </a:rPr>
              <a:t>Let’s get you signed in</a:t>
            </a:r>
            <a:endParaRPr lang="en-US" sz="2040" dirty="0">
              <a:solidFill>
                <a:srgbClr val="FFFFFF"/>
              </a:solidFill>
            </a:endParaRPr>
          </a:p>
        </p:txBody>
      </p:sp>
      <p:sp>
        <p:nvSpPr>
          <p:cNvPr id="24" name="Rectangle 23"/>
          <p:cNvSpPr/>
          <p:nvPr/>
        </p:nvSpPr>
        <p:spPr>
          <a:xfrm>
            <a:off x="2135473" y="3801614"/>
            <a:ext cx="4483098" cy="352226"/>
          </a:xfrm>
          <a:prstGeom prst="rect">
            <a:avLst/>
          </a:prstGeom>
          <a:noFill/>
        </p:spPr>
        <p:txBody>
          <a:bodyPr wrap="square" lIns="0" tIns="0" rIns="0" bIns="0" rtlCol="0">
            <a:spAutoFit/>
          </a:bodyPr>
          <a:lstStyle/>
          <a:p>
            <a:pPr defTabSz="466298"/>
            <a:r>
              <a:rPr lang="en-US" sz="1122" dirty="0">
                <a:solidFill>
                  <a:srgbClr val="000000">
                    <a:lumMod val="95000"/>
                  </a:srgbClr>
                </a:solidFill>
                <a:cs typeface="Segoe UI" panose="020B0502040204020203" pitchFamily="34" charset="0"/>
              </a:rPr>
              <a:t>Sign in with the username and password you use with Office 365 (or other business services from Microsoft).</a:t>
            </a:r>
          </a:p>
        </p:txBody>
      </p:sp>
      <p:sp>
        <p:nvSpPr>
          <p:cNvPr id="25" name="Rectangle 1"/>
          <p:cNvSpPr/>
          <p:nvPr/>
        </p:nvSpPr>
        <p:spPr>
          <a:xfrm>
            <a:off x="2135472" y="1920435"/>
            <a:ext cx="2807752" cy="226857"/>
          </a:xfrm>
          <a:prstGeom prst="rect">
            <a:avLst/>
          </a:prstGeom>
          <a:noFill/>
        </p:spPr>
        <p:txBody>
          <a:bodyPr wrap="square" lIns="0" tIns="0" rIns="0" bIns="0" rtlCol="0">
            <a:spAutoFit/>
          </a:bodyPr>
          <a:lstStyle/>
          <a:p>
            <a:pPr defTabSz="466298">
              <a:lnSpc>
                <a:spcPct val="150000"/>
              </a:lnSpc>
            </a:pPr>
            <a:r>
              <a:rPr lang="en-US" sz="1122" dirty="0">
                <a:solidFill>
                  <a:srgbClr val="FFFFFF"/>
                </a:solidFill>
                <a:latin typeface="Segoe UI Semibold" panose="020B0702040204020203" pitchFamily="34" charset="0"/>
                <a:cs typeface="Segoe UI Semibold" panose="020B0702040204020203" pitchFamily="34" charset="0"/>
              </a:rPr>
              <a:t>Work or school account</a:t>
            </a:r>
          </a:p>
        </p:txBody>
      </p:sp>
      <p:sp>
        <p:nvSpPr>
          <p:cNvPr id="26" name="Rectangle 1"/>
          <p:cNvSpPr/>
          <p:nvPr/>
        </p:nvSpPr>
        <p:spPr>
          <a:xfrm>
            <a:off x="2135472" y="3496390"/>
            <a:ext cx="2807752" cy="226857"/>
          </a:xfrm>
          <a:prstGeom prst="rect">
            <a:avLst/>
          </a:prstGeom>
          <a:noFill/>
        </p:spPr>
        <p:txBody>
          <a:bodyPr wrap="square" lIns="0" tIns="0" rIns="0" bIns="0" rtlCol="0">
            <a:spAutoFit/>
          </a:bodyPr>
          <a:lstStyle/>
          <a:p>
            <a:pPr defTabSz="466298">
              <a:lnSpc>
                <a:spcPct val="150000"/>
              </a:lnSpc>
            </a:pPr>
            <a:r>
              <a:rPr lang="en-US" sz="1122" dirty="0">
                <a:solidFill>
                  <a:srgbClr val="FFFFFF"/>
                </a:solidFill>
                <a:latin typeface="Segoe UI Semibold" panose="020B0702040204020203" pitchFamily="34" charset="0"/>
                <a:cs typeface="Segoe UI Semibold" panose="020B0702040204020203" pitchFamily="34" charset="0"/>
              </a:rPr>
              <a:t>Which account should I use?</a:t>
            </a:r>
          </a:p>
        </p:txBody>
      </p:sp>
      <p:sp>
        <p:nvSpPr>
          <p:cNvPr id="27" name="Rectangle 3"/>
          <p:cNvSpPr/>
          <p:nvPr/>
        </p:nvSpPr>
        <p:spPr>
          <a:xfrm>
            <a:off x="2135472" y="5171173"/>
            <a:ext cx="4147688" cy="201814"/>
          </a:xfrm>
          <a:prstGeom prst="rect">
            <a:avLst/>
          </a:prstGeom>
          <a:noFill/>
        </p:spPr>
        <p:txBody>
          <a:bodyPr wrap="square" lIns="0" tIns="0" rIns="0" bIns="0" rtlCol="0">
            <a:spAutoFit/>
          </a:bodyPr>
          <a:lstStyle/>
          <a:p>
            <a:pPr defTabSz="466298">
              <a:lnSpc>
                <a:spcPct val="150000"/>
              </a:lnSpc>
            </a:pPr>
            <a:r>
              <a:rPr lang="en-US" sz="857" dirty="0">
                <a:solidFill>
                  <a:srgbClr val="A6D8FF"/>
                </a:solidFill>
                <a:ea typeface="Segoe UI" panose="020B0502040204020203" pitchFamily="34" charset="0"/>
                <a:cs typeface="Segoe UI" panose="020B0502040204020203" pitchFamily="34" charset="0"/>
              </a:rPr>
              <a:t>Skip this step</a:t>
            </a:r>
          </a:p>
        </p:txBody>
      </p:sp>
      <p:sp>
        <p:nvSpPr>
          <p:cNvPr id="28" name="Rectangle 27"/>
          <p:cNvSpPr/>
          <p:nvPr/>
        </p:nvSpPr>
        <p:spPr>
          <a:xfrm>
            <a:off x="2135472" y="3033622"/>
            <a:ext cx="2807752" cy="264202"/>
          </a:xfrm>
          <a:prstGeom prst="rect">
            <a:avLst/>
          </a:prstGeom>
          <a:noFill/>
        </p:spPr>
        <p:txBody>
          <a:bodyPr wrap="square" lIns="0" tIns="0" rIns="0" bIns="0" rtlCol="0">
            <a:spAutoFit/>
          </a:bodyPr>
          <a:lstStyle/>
          <a:p>
            <a:pPr defTabSz="466298">
              <a:lnSpc>
                <a:spcPct val="150000"/>
              </a:lnSpc>
            </a:pPr>
            <a:r>
              <a:rPr lang="en-US" sz="1122" spc="-10" dirty="0">
                <a:solidFill>
                  <a:srgbClr val="A6D8FF"/>
                </a:solidFill>
                <a:ea typeface="Segoe UI" panose="020B0502040204020203" pitchFamily="34" charset="0"/>
                <a:cs typeface="Segoe UI" panose="020B0502040204020203" pitchFamily="34" charset="0"/>
              </a:rPr>
              <a:t>I forgot my password</a:t>
            </a:r>
          </a:p>
        </p:txBody>
      </p:sp>
    </p:spTree>
    <p:extLst>
      <p:ext uri="{BB962C8B-B14F-4D97-AF65-F5344CB8AC3E}">
        <p14:creationId xmlns:p14="http://schemas.microsoft.com/office/powerpoint/2010/main" val="145470505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6" name="TextBox 45"/>
          <p:cNvSpPr txBox="1"/>
          <p:nvPr/>
        </p:nvSpPr>
        <p:spPr>
          <a:xfrm>
            <a:off x="882" y="-900310"/>
            <a:ext cx="12434711" cy="476479"/>
          </a:xfrm>
          <a:prstGeom prst="rect">
            <a:avLst/>
          </a:prstGeom>
          <a:solidFill>
            <a:schemeClr val="accent6">
              <a:lumMod val="75000"/>
            </a:schemeClr>
          </a:solidFill>
        </p:spPr>
        <p:txBody>
          <a:bodyPr wrap="square" lIns="93260" tIns="93260" bIns="93260" rtlCol="0">
            <a:spAutoFit/>
          </a:bodyPr>
          <a:lstStyle/>
          <a:p>
            <a:r>
              <a:rPr lang="en-US" sz="1836" dirty="0">
                <a:solidFill>
                  <a:srgbClr val="000000"/>
                </a:solidFill>
                <a:cs typeface="Segoe UI" panose="020B0502040204020203" pitchFamily="34" charset="0"/>
              </a:rPr>
              <a:t>AAD sign in page, home realm discovery</a:t>
            </a:r>
          </a:p>
        </p:txBody>
      </p:sp>
      <p:grpSp>
        <p:nvGrpSpPr>
          <p:cNvPr id="55" name="Group 54"/>
          <p:cNvGrpSpPr/>
          <p:nvPr/>
        </p:nvGrpSpPr>
        <p:grpSpPr>
          <a:xfrm>
            <a:off x="-190601" y="-221990"/>
            <a:ext cx="12815205" cy="7943206"/>
            <a:chOff x="-187745" y="-217657"/>
            <a:chExt cx="12565067" cy="7788164"/>
          </a:xfrm>
        </p:grpSpPr>
        <p:sp>
          <p:nvSpPr>
            <p:cNvPr id="56" name="Rounded Rectangle 55"/>
            <p:cNvSpPr/>
            <p:nvPr/>
          </p:nvSpPr>
          <p:spPr>
            <a:xfrm>
              <a:off x="-187745" y="6908696"/>
              <a:ext cx="12565067" cy="661811"/>
            </a:xfrm>
            <a:prstGeom prst="roundRect">
              <a:avLst>
                <a:gd name="adj" fmla="val 12372"/>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rgbClr val="FFFFFF"/>
                </a:solidFill>
              </a:endParaRPr>
            </a:p>
          </p:txBody>
        </p:sp>
        <p:pic>
          <p:nvPicPr>
            <p:cNvPr id="59" name="Picture 58"/>
            <p:cNvPicPr>
              <a:picLocks noChangeAspect="1"/>
            </p:cNvPicPr>
            <p:nvPr/>
          </p:nvPicPr>
          <p:blipFill rotWithShape="1">
            <a:blip r:embed="rId3" cstate="print">
              <a:extLst>
                <a:ext uri="{28A0092B-C50C-407E-A947-70E740481C1C}">
                  <a14:useLocalDpi xmlns:a14="http://schemas.microsoft.com/office/drawing/2010/main" val="0"/>
                </a:ext>
              </a:extLst>
            </a:blip>
            <a:srcRect l="15890" t="13026" r="15630" b="12506"/>
            <a:stretch/>
          </p:blipFill>
          <p:spPr>
            <a:xfrm>
              <a:off x="5991714" y="6982364"/>
              <a:ext cx="419714" cy="456419"/>
            </a:xfrm>
            <a:prstGeom prst="rect">
              <a:avLst/>
            </a:prstGeom>
          </p:spPr>
        </p:pic>
        <p:sp>
          <p:nvSpPr>
            <p:cNvPr id="70" name="Rounded Rectangle 69"/>
            <p:cNvSpPr/>
            <p:nvPr/>
          </p:nvSpPr>
          <p:spPr>
            <a:xfrm>
              <a:off x="-187744" y="-217657"/>
              <a:ext cx="12565066" cy="178973"/>
            </a:xfrm>
            <a:prstGeom prst="roundRect">
              <a:avLst>
                <a:gd name="adj" fmla="val 50000"/>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rgbClr val="FFFFFF"/>
                </a:solidFill>
              </a:endParaRPr>
            </a:p>
          </p:txBody>
        </p:sp>
        <p:sp>
          <p:nvSpPr>
            <p:cNvPr id="71" name="Rounded Rectangle 70"/>
            <p:cNvSpPr/>
            <p:nvPr/>
          </p:nvSpPr>
          <p:spPr>
            <a:xfrm>
              <a:off x="-187744" y="-155574"/>
              <a:ext cx="149644" cy="7431138"/>
            </a:xfrm>
            <a:prstGeom prst="roundRect">
              <a:avLst>
                <a:gd name="adj" fmla="val 37018"/>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rgbClr val="FFFFFF"/>
                </a:solidFill>
              </a:endParaRPr>
            </a:p>
          </p:txBody>
        </p:sp>
        <p:sp>
          <p:nvSpPr>
            <p:cNvPr id="72" name="Rounded Rectangle 71"/>
            <p:cNvSpPr/>
            <p:nvPr/>
          </p:nvSpPr>
          <p:spPr>
            <a:xfrm>
              <a:off x="12227678" y="-155574"/>
              <a:ext cx="149644" cy="7431138"/>
            </a:xfrm>
            <a:prstGeom prst="roundRect">
              <a:avLst>
                <a:gd name="adj" fmla="val 37018"/>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rgbClr val="FFFFFF"/>
                </a:solidFill>
              </a:endParaRPr>
            </a:p>
          </p:txBody>
        </p:sp>
      </p:grpSp>
      <p:sp>
        <p:nvSpPr>
          <p:cNvPr id="73" name="Rectangle 72"/>
          <p:cNvSpPr/>
          <p:nvPr/>
        </p:nvSpPr>
        <p:spPr>
          <a:xfrm>
            <a:off x="-37977" y="-39453"/>
            <a:ext cx="12509958" cy="7085684"/>
          </a:xfrm>
          <a:prstGeom prst="rect">
            <a:avLst/>
          </a:prstGeom>
          <a:solidFill>
            <a:srgbClr val="005A9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rgbClr val="FFFFFF"/>
              </a:solidFill>
            </a:endParaRPr>
          </a:p>
        </p:txBody>
      </p:sp>
      <p:sp>
        <p:nvSpPr>
          <p:cNvPr id="53" name="Rectangle 1"/>
          <p:cNvSpPr/>
          <p:nvPr/>
        </p:nvSpPr>
        <p:spPr>
          <a:xfrm>
            <a:off x="9211480" y="5908175"/>
            <a:ext cx="1086897" cy="274418"/>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9891" tIns="27978" rIns="139891" bIns="27978" rtlCol="0" anchor="ctr" anchorCtr="0">
            <a:noAutofit/>
          </a:bodyPr>
          <a:lstStyle/>
          <a:p>
            <a:pPr algn="ctr" defTabSz="466298"/>
            <a:r>
              <a:rPr lang="en-US" sz="1020" dirty="0">
                <a:solidFill>
                  <a:prstClr val="white"/>
                </a:solidFill>
                <a:cs typeface="Segoe UI" panose="020B0502040204020203" pitchFamily="34" charset="0"/>
              </a:rPr>
              <a:t>Sign in</a:t>
            </a:r>
          </a:p>
        </p:txBody>
      </p:sp>
      <p:sp>
        <p:nvSpPr>
          <p:cNvPr id="54" name="Rectangle 2"/>
          <p:cNvSpPr/>
          <p:nvPr/>
        </p:nvSpPr>
        <p:spPr>
          <a:xfrm>
            <a:off x="8010045" y="5908175"/>
            <a:ext cx="1081437" cy="274418"/>
          </a:xfrm>
          <a:prstGeom prst="rect">
            <a:avLst/>
          </a:prstGeom>
          <a:solidFill>
            <a:srgbClr val="3078A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9891" tIns="27978" rIns="139891" bIns="27978" rtlCol="0" anchor="ctr" anchorCtr="0">
            <a:noAutofit/>
          </a:bodyPr>
          <a:lstStyle/>
          <a:p>
            <a:pPr algn="ctr" defTabSz="466298"/>
            <a:r>
              <a:rPr lang="en-US" sz="1020" dirty="0">
                <a:solidFill>
                  <a:prstClr val="white"/>
                </a:solidFill>
                <a:cs typeface="Segoe UI" panose="020B0502040204020203" pitchFamily="34" charset="0"/>
              </a:rPr>
              <a:t>Back</a:t>
            </a:r>
          </a:p>
        </p:txBody>
      </p:sp>
      <p:sp>
        <p:nvSpPr>
          <p:cNvPr id="58" name="Rectangle 3"/>
          <p:cNvSpPr/>
          <p:nvPr/>
        </p:nvSpPr>
        <p:spPr>
          <a:xfrm>
            <a:off x="2135472" y="5412530"/>
            <a:ext cx="2807752" cy="201814"/>
          </a:xfrm>
          <a:prstGeom prst="rect">
            <a:avLst/>
          </a:prstGeom>
          <a:noFill/>
        </p:spPr>
        <p:txBody>
          <a:bodyPr wrap="square" lIns="0" tIns="0" rIns="0" bIns="0" rtlCol="0">
            <a:spAutoFit/>
          </a:bodyPr>
          <a:lstStyle/>
          <a:p>
            <a:pPr defTabSz="466298">
              <a:lnSpc>
                <a:spcPct val="150000"/>
              </a:lnSpc>
            </a:pPr>
            <a:r>
              <a:rPr lang="en-US" sz="857" dirty="0">
                <a:solidFill>
                  <a:srgbClr val="A6D8FF"/>
                </a:solidFill>
                <a:ea typeface="Segoe UI" panose="020B0502040204020203" pitchFamily="34" charset="0"/>
                <a:cs typeface="Segoe UI" panose="020B0502040204020203" pitchFamily="34" charset="0"/>
              </a:rPr>
              <a:t>Privacy statement</a:t>
            </a:r>
          </a:p>
        </p:txBody>
      </p:sp>
      <p:sp>
        <p:nvSpPr>
          <p:cNvPr id="63" name="Rectangle 62"/>
          <p:cNvSpPr/>
          <p:nvPr/>
        </p:nvSpPr>
        <p:spPr>
          <a:xfrm>
            <a:off x="2135473" y="2673746"/>
            <a:ext cx="2807753" cy="275226"/>
          </a:xfrm>
          <a:prstGeom prst="rect">
            <a:avLst/>
          </a:prstGeom>
          <a:solidFill>
            <a:schemeClr val="tx1">
              <a:alpha val="40000"/>
            </a:schemeClr>
          </a:solidFill>
          <a:ln w="15875">
            <a:solidFill>
              <a:schemeClr val="bg1">
                <a:alpha val="40000"/>
              </a:schemeClr>
            </a:solidFill>
          </a:ln>
        </p:spPr>
        <p:txBody>
          <a:bodyPr wrap="square" lIns="93260" tIns="0" rIns="0" bIns="0" rtlCol="0" anchor="ctr">
            <a:noAutofit/>
          </a:bodyPr>
          <a:lstStyle/>
          <a:p>
            <a:r>
              <a:rPr lang="en-US" sz="1091" spc="-10" dirty="0">
                <a:solidFill>
                  <a:srgbClr val="000000">
                    <a:alpha val="40000"/>
                  </a:srgbClr>
                </a:solidFill>
                <a:ea typeface="Segoe UI" panose="020B0502040204020203" pitchFamily="34" charset="0"/>
                <a:cs typeface="Segoe UI" panose="020B0502040204020203" pitchFamily="34" charset="0"/>
              </a:rPr>
              <a:t>Password</a:t>
            </a:r>
          </a:p>
        </p:txBody>
      </p:sp>
      <p:pic>
        <p:nvPicPr>
          <p:cNvPr id="64" name="Picture 6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049385" y="5827011"/>
            <a:ext cx="987564" cy="438917"/>
          </a:xfrm>
          <a:prstGeom prst="rect">
            <a:avLst/>
          </a:prstGeom>
        </p:spPr>
      </p:pic>
      <p:sp>
        <p:nvSpPr>
          <p:cNvPr id="65" name="TextBox 64"/>
          <p:cNvSpPr txBox="1"/>
          <p:nvPr/>
        </p:nvSpPr>
        <p:spPr>
          <a:xfrm>
            <a:off x="2135472" y="2225811"/>
            <a:ext cx="2807752" cy="274437"/>
          </a:xfrm>
          <a:prstGeom prst="rect">
            <a:avLst/>
          </a:prstGeom>
          <a:solidFill>
            <a:schemeClr val="bg1"/>
          </a:solidFill>
          <a:ln w="15875">
            <a:solidFill>
              <a:srgbClr val="0078D7"/>
            </a:solidFill>
          </a:ln>
        </p:spPr>
        <p:txBody>
          <a:bodyPr wrap="square" lIns="93260" tIns="0" rIns="0" bIns="0" rtlCol="0" anchor="ctr">
            <a:noAutofit/>
          </a:bodyPr>
          <a:lstStyle/>
          <a:p>
            <a:r>
              <a:rPr lang="en-US" sz="1091" spc="-10" dirty="0" smtClean="0">
                <a:solidFill>
                  <a:srgbClr val="FFFFFF"/>
                </a:solidFill>
                <a:ea typeface="Segoe UI" panose="020B0502040204020203" pitchFamily="34" charset="0"/>
                <a:cs typeface="Segoe UI" panose="020B0502040204020203" pitchFamily="34" charset="0"/>
              </a:rPr>
              <a:t>irwin@starbucks.com</a:t>
            </a:r>
            <a:endParaRPr lang="en-US" sz="1091" spc="-10" dirty="0">
              <a:solidFill>
                <a:srgbClr val="FFFFFF"/>
              </a:solidFill>
              <a:ea typeface="Segoe UI" panose="020B0502040204020203" pitchFamily="34" charset="0"/>
              <a:cs typeface="Segoe UI" panose="020B0502040204020203" pitchFamily="34" charset="0"/>
            </a:endParaRPr>
          </a:p>
        </p:txBody>
      </p:sp>
      <p:sp>
        <p:nvSpPr>
          <p:cNvPr id="51" name="TextBox 50"/>
          <p:cNvSpPr txBox="1"/>
          <p:nvPr/>
        </p:nvSpPr>
        <p:spPr>
          <a:xfrm>
            <a:off x="3423702" y="2320735"/>
            <a:ext cx="1360248" cy="224114"/>
          </a:xfrm>
          <a:prstGeom prst="rect">
            <a:avLst/>
          </a:prstGeom>
          <a:noFill/>
        </p:spPr>
        <p:txBody>
          <a:bodyPr wrap="none" lIns="0" tIns="0" rIns="0" bIns="0" rtlCol="0">
            <a:spAutoFit/>
          </a:bodyPr>
          <a:lstStyle/>
          <a:p>
            <a:r>
              <a:rPr lang="en-US" sz="408" dirty="0">
                <a:solidFill>
                  <a:srgbClr val="FFFFFF"/>
                </a:solidFill>
                <a:cs typeface="Segoe UI" panose="020B0502040204020203" pitchFamily="34" charset="0"/>
              </a:rPr>
              <a:t>	</a:t>
            </a:r>
          </a:p>
          <a:p>
            <a:r>
              <a:rPr lang="en-US" sz="1020" dirty="0">
                <a:solidFill>
                  <a:srgbClr val="FFFFFF"/>
                </a:solidFill>
                <a:cs typeface="Segoe UI" panose="020B0502040204020203" pitchFamily="34" charset="0"/>
              </a:rPr>
              <a:t>    ٠         ٠        ٠   ٠  ٠ ٠٠</a:t>
            </a:r>
          </a:p>
        </p:txBody>
      </p:sp>
      <p:sp>
        <p:nvSpPr>
          <p:cNvPr id="24" name="TextBox 23"/>
          <p:cNvSpPr txBox="1"/>
          <p:nvPr/>
        </p:nvSpPr>
        <p:spPr>
          <a:xfrm>
            <a:off x="2135472" y="1315545"/>
            <a:ext cx="5695604" cy="334071"/>
          </a:xfrm>
          <a:prstGeom prst="rect">
            <a:avLst/>
          </a:prstGeom>
          <a:noFill/>
        </p:spPr>
        <p:txBody>
          <a:bodyPr wrap="square" lIns="0" tIns="0" rIns="0" bIns="0" rtlCol="0" anchor="b" anchorCtr="0">
            <a:noAutofit/>
          </a:bodyPr>
          <a:lstStyle>
            <a:defPPr>
              <a:defRPr lang="en-US"/>
            </a:defPPr>
            <a:lvl1pPr>
              <a:defRPr sz="2000">
                <a:solidFill>
                  <a:srgbClr val="2672EC"/>
                </a:solidFill>
                <a:latin typeface="Segoe UI Light" panose="020B0502040204020203" pitchFamily="34" charset="0"/>
                <a:cs typeface="Segoe UI Light" panose="020B0502040204020203" pitchFamily="34" charset="0"/>
              </a:defRPr>
            </a:lvl1pPr>
          </a:lstStyle>
          <a:p>
            <a:pPr defTabSz="466298"/>
            <a:r>
              <a:rPr lang="en-US" sz="2448" dirty="0">
                <a:solidFill>
                  <a:srgbClr val="FFFFFF"/>
                </a:solidFill>
              </a:rPr>
              <a:t>Let’s get you signed in</a:t>
            </a:r>
            <a:endParaRPr lang="en-US" sz="2040" dirty="0">
              <a:solidFill>
                <a:srgbClr val="FFFFFF"/>
              </a:solidFill>
            </a:endParaRPr>
          </a:p>
        </p:txBody>
      </p:sp>
      <p:sp>
        <p:nvSpPr>
          <p:cNvPr id="25" name="Rectangle 24"/>
          <p:cNvSpPr/>
          <p:nvPr/>
        </p:nvSpPr>
        <p:spPr>
          <a:xfrm>
            <a:off x="2135473" y="3801614"/>
            <a:ext cx="4483098" cy="352226"/>
          </a:xfrm>
          <a:prstGeom prst="rect">
            <a:avLst/>
          </a:prstGeom>
          <a:noFill/>
        </p:spPr>
        <p:txBody>
          <a:bodyPr wrap="square" lIns="0" tIns="0" rIns="0" bIns="0" rtlCol="0">
            <a:spAutoFit/>
          </a:bodyPr>
          <a:lstStyle/>
          <a:p>
            <a:pPr defTabSz="466298"/>
            <a:r>
              <a:rPr lang="en-US" sz="1122" dirty="0">
                <a:solidFill>
                  <a:srgbClr val="000000">
                    <a:lumMod val="95000"/>
                  </a:srgbClr>
                </a:solidFill>
                <a:cs typeface="Segoe UI" panose="020B0502040204020203" pitchFamily="34" charset="0"/>
              </a:rPr>
              <a:t>Sign in with the username and password you use with Office 365 (or other business services from Microsoft).</a:t>
            </a:r>
          </a:p>
        </p:txBody>
      </p:sp>
      <p:sp>
        <p:nvSpPr>
          <p:cNvPr id="26" name="Rectangle 1"/>
          <p:cNvSpPr/>
          <p:nvPr/>
        </p:nvSpPr>
        <p:spPr>
          <a:xfrm>
            <a:off x="2135472" y="1920435"/>
            <a:ext cx="2807752" cy="264202"/>
          </a:xfrm>
          <a:prstGeom prst="rect">
            <a:avLst/>
          </a:prstGeom>
          <a:noFill/>
        </p:spPr>
        <p:txBody>
          <a:bodyPr wrap="square" lIns="0" tIns="0" rIns="0" bIns="0" rtlCol="0">
            <a:spAutoFit/>
          </a:bodyPr>
          <a:lstStyle/>
          <a:p>
            <a:pPr defTabSz="466298">
              <a:lnSpc>
                <a:spcPct val="150000"/>
              </a:lnSpc>
            </a:pPr>
            <a:r>
              <a:rPr lang="en-US" sz="1122" dirty="0">
                <a:solidFill>
                  <a:srgbClr val="000000">
                    <a:lumMod val="95000"/>
                  </a:srgbClr>
                </a:solidFill>
                <a:latin typeface="Segoe UI Semibold" panose="020B0702040204020203" pitchFamily="34" charset="0"/>
                <a:cs typeface="Segoe UI Semibold" panose="020B0702040204020203" pitchFamily="34" charset="0"/>
              </a:rPr>
              <a:t>Work or school account</a:t>
            </a:r>
          </a:p>
        </p:txBody>
      </p:sp>
      <p:sp>
        <p:nvSpPr>
          <p:cNvPr id="27" name="Rectangle 1"/>
          <p:cNvSpPr/>
          <p:nvPr/>
        </p:nvSpPr>
        <p:spPr>
          <a:xfrm>
            <a:off x="2135472" y="3496390"/>
            <a:ext cx="2807752" cy="226857"/>
          </a:xfrm>
          <a:prstGeom prst="rect">
            <a:avLst/>
          </a:prstGeom>
          <a:noFill/>
        </p:spPr>
        <p:txBody>
          <a:bodyPr wrap="square" lIns="0" tIns="0" rIns="0" bIns="0" rtlCol="0">
            <a:spAutoFit/>
          </a:bodyPr>
          <a:lstStyle/>
          <a:p>
            <a:pPr defTabSz="466298">
              <a:lnSpc>
                <a:spcPct val="150000"/>
              </a:lnSpc>
            </a:pPr>
            <a:r>
              <a:rPr lang="en-US" sz="1122" dirty="0">
                <a:solidFill>
                  <a:srgbClr val="FFFFFF"/>
                </a:solidFill>
                <a:latin typeface="Segoe UI Semibold" panose="020B0702040204020203" pitchFamily="34" charset="0"/>
                <a:cs typeface="Segoe UI Semibold" panose="020B0702040204020203" pitchFamily="34" charset="0"/>
              </a:rPr>
              <a:t>Which account should I use?</a:t>
            </a:r>
          </a:p>
        </p:txBody>
      </p:sp>
      <p:sp>
        <p:nvSpPr>
          <p:cNvPr id="28" name="Rectangle 3"/>
          <p:cNvSpPr/>
          <p:nvPr/>
        </p:nvSpPr>
        <p:spPr>
          <a:xfrm>
            <a:off x="2135472" y="5171173"/>
            <a:ext cx="4147688" cy="201814"/>
          </a:xfrm>
          <a:prstGeom prst="rect">
            <a:avLst/>
          </a:prstGeom>
          <a:noFill/>
        </p:spPr>
        <p:txBody>
          <a:bodyPr wrap="square" lIns="0" tIns="0" rIns="0" bIns="0" rtlCol="0">
            <a:spAutoFit/>
          </a:bodyPr>
          <a:lstStyle/>
          <a:p>
            <a:pPr defTabSz="466298">
              <a:lnSpc>
                <a:spcPct val="150000"/>
              </a:lnSpc>
            </a:pPr>
            <a:r>
              <a:rPr lang="en-US" sz="857" dirty="0">
                <a:solidFill>
                  <a:srgbClr val="A6D8FF"/>
                </a:solidFill>
                <a:ea typeface="Segoe UI" panose="020B0502040204020203" pitchFamily="34" charset="0"/>
                <a:cs typeface="Segoe UI" panose="020B0502040204020203" pitchFamily="34" charset="0"/>
              </a:rPr>
              <a:t>Skip this step</a:t>
            </a:r>
          </a:p>
        </p:txBody>
      </p:sp>
      <p:sp>
        <p:nvSpPr>
          <p:cNvPr id="29" name="Rectangle 28"/>
          <p:cNvSpPr/>
          <p:nvPr/>
        </p:nvSpPr>
        <p:spPr>
          <a:xfrm>
            <a:off x="2135472" y="3033622"/>
            <a:ext cx="2807752" cy="264202"/>
          </a:xfrm>
          <a:prstGeom prst="rect">
            <a:avLst/>
          </a:prstGeom>
          <a:noFill/>
        </p:spPr>
        <p:txBody>
          <a:bodyPr wrap="square" lIns="0" tIns="0" rIns="0" bIns="0" rtlCol="0">
            <a:spAutoFit/>
          </a:bodyPr>
          <a:lstStyle/>
          <a:p>
            <a:pPr defTabSz="466298">
              <a:lnSpc>
                <a:spcPct val="150000"/>
              </a:lnSpc>
            </a:pPr>
            <a:r>
              <a:rPr lang="en-US" sz="1122" spc="-10" dirty="0">
                <a:solidFill>
                  <a:srgbClr val="A6D8FF"/>
                </a:solidFill>
                <a:ea typeface="Segoe UI" panose="020B0502040204020203" pitchFamily="34" charset="0"/>
                <a:cs typeface="Segoe UI" panose="020B0502040204020203" pitchFamily="34" charset="0"/>
              </a:rPr>
              <a:t>I forgot my password</a:t>
            </a:r>
          </a:p>
        </p:txBody>
      </p:sp>
    </p:spTree>
    <p:extLst>
      <p:ext uri="{BB962C8B-B14F-4D97-AF65-F5344CB8AC3E}">
        <p14:creationId xmlns:p14="http://schemas.microsoft.com/office/powerpoint/2010/main" val="151881919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6" name="TextBox 45"/>
          <p:cNvSpPr txBox="1"/>
          <p:nvPr/>
        </p:nvSpPr>
        <p:spPr>
          <a:xfrm>
            <a:off x="882" y="-900310"/>
            <a:ext cx="12434711" cy="476479"/>
          </a:xfrm>
          <a:prstGeom prst="rect">
            <a:avLst/>
          </a:prstGeom>
          <a:solidFill>
            <a:schemeClr val="accent6">
              <a:lumMod val="75000"/>
            </a:schemeClr>
          </a:solidFill>
        </p:spPr>
        <p:txBody>
          <a:bodyPr wrap="square" lIns="93260" tIns="93260" bIns="93260" rtlCol="0">
            <a:spAutoFit/>
          </a:bodyPr>
          <a:lstStyle/>
          <a:p>
            <a:r>
              <a:rPr lang="en-US" sz="1836" dirty="0">
                <a:solidFill>
                  <a:srgbClr val="000000"/>
                </a:solidFill>
                <a:cs typeface="Segoe UI" panose="020B0502040204020203" pitchFamily="34" charset="0"/>
              </a:rPr>
              <a:t>AAD sign in page, password entered</a:t>
            </a:r>
          </a:p>
        </p:txBody>
      </p:sp>
      <p:grpSp>
        <p:nvGrpSpPr>
          <p:cNvPr id="55" name="Group 54"/>
          <p:cNvGrpSpPr/>
          <p:nvPr/>
        </p:nvGrpSpPr>
        <p:grpSpPr>
          <a:xfrm>
            <a:off x="-190601" y="-221990"/>
            <a:ext cx="12815205" cy="7943206"/>
            <a:chOff x="-187745" y="-217657"/>
            <a:chExt cx="12565067" cy="7788164"/>
          </a:xfrm>
        </p:grpSpPr>
        <p:sp>
          <p:nvSpPr>
            <p:cNvPr id="56" name="Rounded Rectangle 55"/>
            <p:cNvSpPr/>
            <p:nvPr/>
          </p:nvSpPr>
          <p:spPr>
            <a:xfrm>
              <a:off x="-187745" y="6908696"/>
              <a:ext cx="12565067" cy="661811"/>
            </a:xfrm>
            <a:prstGeom prst="roundRect">
              <a:avLst>
                <a:gd name="adj" fmla="val 12372"/>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rgbClr val="FFFFFF"/>
                </a:solidFill>
              </a:endParaRPr>
            </a:p>
          </p:txBody>
        </p:sp>
        <p:pic>
          <p:nvPicPr>
            <p:cNvPr id="59" name="Picture 58"/>
            <p:cNvPicPr>
              <a:picLocks noChangeAspect="1"/>
            </p:cNvPicPr>
            <p:nvPr/>
          </p:nvPicPr>
          <p:blipFill rotWithShape="1">
            <a:blip r:embed="rId3" cstate="print">
              <a:extLst>
                <a:ext uri="{28A0092B-C50C-407E-A947-70E740481C1C}">
                  <a14:useLocalDpi xmlns:a14="http://schemas.microsoft.com/office/drawing/2010/main" val="0"/>
                </a:ext>
              </a:extLst>
            </a:blip>
            <a:srcRect l="15890" t="13026" r="15630" b="12506"/>
            <a:stretch/>
          </p:blipFill>
          <p:spPr>
            <a:xfrm>
              <a:off x="5991714" y="6982364"/>
              <a:ext cx="419714" cy="456419"/>
            </a:xfrm>
            <a:prstGeom prst="rect">
              <a:avLst/>
            </a:prstGeom>
          </p:spPr>
        </p:pic>
        <p:sp>
          <p:nvSpPr>
            <p:cNvPr id="70" name="Rounded Rectangle 69"/>
            <p:cNvSpPr/>
            <p:nvPr/>
          </p:nvSpPr>
          <p:spPr>
            <a:xfrm>
              <a:off x="-187744" y="-217657"/>
              <a:ext cx="12565066" cy="178973"/>
            </a:xfrm>
            <a:prstGeom prst="roundRect">
              <a:avLst>
                <a:gd name="adj" fmla="val 50000"/>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rgbClr val="FFFFFF"/>
                </a:solidFill>
              </a:endParaRPr>
            </a:p>
          </p:txBody>
        </p:sp>
        <p:sp>
          <p:nvSpPr>
            <p:cNvPr id="71" name="Rounded Rectangle 70"/>
            <p:cNvSpPr/>
            <p:nvPr/>
          </p:nvSpPr>
          <p:spPr>
            <a:xfrm>
              <a:off x="-187744" y="-155574"/>
              <a:ext cx="149644" cy="7431138"/>
            </a:xfrm>
            <a:prstGeom prst="roundRect">
              <a:avLst>
                <a:gd name="adj" fmla="val 37018"/>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rgbClr val="FFFFFF"/>
                </a:solidFill>
              </a:endParaRPr>
            </a:p>
          </p:txBody>
        </p:sp>
        <p:sp>
          <p:nvSpPr>
            <p:cNvPr id="72" name="Rounded Rectangle 71"/>
            <p:cNvSpPr/>
            <p:nvPr/>
          </p:nvSpPr>
          <p:spPr>
            <a:xfrm>
              <a:off x="12227678" y="-155574"/>
              <a:ext cx="149644" cy="7431138"/>
            </a:xfrm>
            <a:prstGeom prst="roundRect">
              <a:avLst>
                <a:gd name="adj" fmla="val 37018"/>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rgbClr val="FFFFFF"/>
                </a:solidFill>
              </a:endParaRPr>
            </a:p>
          </p:txBody>
        </p:sp>
      </p:grpSp>
      <p:sp>
        <p:nvSpPr>
          <p:cNvPr id="73" name="Rectangle 72"/>
          <p:cNvSpPr/>
          <p:nvPr/>
        </p:nvSpPr>
        <p:spPr>
          <a:xfrm>
            <a:off x="-37977" y="-39453"/>
            <a:ext cx="12509958" cy="7085684"/>
          </a:xfrm>
          <a:prstGeom prst="rect">
            <a:avLst/>
          </a:prstGeom>
          <a:solidFill>
            <a:srgbClr val="005A9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rgbClr val="FFFFFF"/>
              </a:solidFill>
            </a:endParaRPr>
          </a:p>
        </p:txBody>
      </p:sp>
      <p:sp>
        <p:nvSpPr>
          <p:cNvPr id="66" name="Rectangle 1"/>
          <p:cNvSpPr/>
          <p:nvPr/>
        </p:nvSpPr>
        <p:spPr>
          <a:xfrm>
            <a:off x="9211480" y="5908175"/>
            <a:ext cx="1086897" cy="274418"/>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9891" tIns="27978" rIns="139891" bIns="27978" rtlCol="0" anchor="ctr" anchorCtr="0">
            <a:noAutofit/>
          </a:bodyPr>
          <a:lstStyle/>
          <a:p>
            <a:pPr algn="ctr" defTabSz="466298"/>
            <a:r>
              <a:rPr lang="en-US" sz="1020" dirty="0">
                <a:solidFill>
                  <a:prstClr val="white"/>
                </a:solidFill>
                <a:cs typeface="Segoe UI" panose="020B0502040204020203" pitchFamily="34" charset="0"/>
              </a:rPr>
              <a:t>Sign in</a:t>
            </a:r>
          </a:p>
        </p:txBody>
      </p:sp>
      <p:sp>
        <p:nvSpPr>
          <p:cNvPr id="74" name="Rectangle 2"/>
          <p:cNvSpPr/>
          <p:nvPr/>
        </p:nvSpPr>
        <p:spPr>
          <a:xfrm>
            <a:off x="8010045" y="5908175"/>
            <a:ext cx="1081437" cy="274418"/>
          </a:xfrm>
          <a:prstGeom prst="rect">
            <a:avLst/>
          </a:prstGeom>
          <a:solidFill>
            <a:srgbClr val="3078A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9891" tIns="27978" rIns="139891" bIns="27978" rtlCol="0" anchor="ctr" anchorCtr="0">
            <a:noAutofit/>
          </a:bodyPr>
          <a:lstStyle/>
          <a:p>
            <a:pPr algn="ctr" defTabSz="466298"/>
            <a:r>
              <a:rPr lang="en-US" sz="1020" dirty="0">
                <a:solidFill>
                  <a:prstClr val="white"/>
                </a:solidFill>
                <a:cs typeface="Segoe UI" panose="020B0502040204020203" pitchFamily="34" charset="0"/>
              </a:rPr>
              <a:t>Back</a:t>
            </a:r>
          </a:p>
        </p:txBody>
      </p:sp>
      <p:sp>
        <p:nvSpPr>
          <p:cNvPr id="75" name="Rectangle 74"/>
          <p:cNvSpPr/>
          <p:nvPr/>
        </p:nvSpPr>
        <p:spPr>
          <a:xfrm>
            <a:off x="2135473" y="3801614"/>
            <a:ext cx="4483098" cy="528340"/>
          </a:xfrm>
          <a:prstGeom prst="rect">
            <a:avLst/>
          </a:prstGeom>
          <a:noFill/>
        </p:spPr>
        <p:txBody>
          <a:bodyPr wrap="square" lIns="0" tIns="0" rIns="0" bIns="0" rtlCol="0">
            <a:spAutoFit/>
          </a:bodyPr>
          <a:lstStyle/>
          <a:p>
            <a:pPr defTabSz="466298"/>
            <a:r>
              <a:rPr lang="en-US" sz="1122" dirty="0">
                <a:solidFill>
                  <a:srgbClr val="000000">
                    <a:lumMod val="95000"/>
                  </a:srgbClr>
                </a:solidFill>
                <a:cs typeface="Segoe UI" panose="020B0502040204020203" pitchFamily="34" charset="0"/>
              </a:rPr>
              <a:t>Contact the Starbucks Help Desk at (206) 555-1234. This service is operated by Microsoft on behalf of Starbucks and is for the exclusive use of their employees and partners. </a:t>
            </a:r>
          </a:p>
        </p:txBody>
      </p:sp>
      <p:sp>
        <p:nvSpPr>
          <p:cNvPr id="76" name="Rectangle 3"/>
          <p:cNvSpPr/>
          <p:nvPr/>
        </p:nvSpPr>
        <p:spPr>
          <a:xfrm>
            <a:off x="2135472" y="5412530"/>
            <a:ext cx="2807752" cy="201814"/>
          </a:xfrm>
          <a:prstGeom prst="rect">
            <a:avLst/>
          </a:prstGeom>
          <a:noFill/>
        </p:spPr>
        <p:txBody>
          <a:bodyPr wrap="square" lIns="0" tIns="0" rIns="0" bIns="0" rtlCol="0">
            <a:spAutoFit/>
          </a:bodyPr>
          <a:lstStyle/>
          <a:p>
            <a:pPr defTabSz="466298">
              <a:lnSpc>
                <a:spcPct val="150000"/>
              </a:lnSpc>
            </a:pPr>
            <a:r>
              <a:rPr lang="en-US" sz="857" dirty="0">
                <a:solidFill>
                  <a:srgbClr val="A6D8FF"/>
                </a:solidFill>
                <a:ea typeface="Segoe UI" panose="020B0502040204020203" pitchFamily="34" charset="0"/>
                <a:cs typeface="Segoe UI" panose="020B0502040204020203" pitchFamily="34" charset="0"/>
              </a:rPr>
              <a:t>Privacy statement</a:t>
            </a:r>
          </a:p>
        </p:txBody>
      </p:sp>
      <p:sp>
        <p:nvSpPr>
          <p:cNvPr id="78" name="Rectangle 1"/>
          <p:cNvSpPr/>
          <p:nvPr/>
        </p:nvSpPr>
        <p:spPr>
          <a:xfrm>
            <a:off x="2135472" y="3496390"/>
            <a:ext cx="2807752" cy="226857"/>
          </a:xfrm>
          <a:prstGeom prst="rect">
            <a:avLst/>
          </a:prstGeom>
          <a:noFill/>
        </p:spPr>
        <p:txBody>
          <a:bodyPr wrap="square" lIns="0" tIns="0" rIns="0" bIns="0" rtlCol="0">
            <a:spAutoFit/>
          </a:bodyPr>
          <a:lstStyle/>
          <a:p>
            <a:pPr defTabSz="466298">
              <a:lnSpc>
                <a:spcPct val="150000"/>
              </a:lnSpc>
            </a:pPr>
            <a:r>
              <a:rPr lang="en-US" sz="1122" dirty="0">
                <a:solidFill>
                  <a:srgbClr val="FFFFFF"/>
                </a:solidFill>
                <a:latin typeface="Segoe UI Semibold" panose="020B0702040204020203" pitchFamily="34" charset="0"/>
                <a:cs typeface="Segoe UI Semibold" panose="020B0702040204020203" pitchFamily="34" charset="0"/>
              </a:rPr>
              <a:t>Need help?</a:t>
            </a:r>
          </a:p>
        </p:txBody>
      </p:sp>
      <p:pic>
        <p:nvPicPr>
          <p:cNvPr id="81" name="Picture 8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049385" y="5827011"/>
            <a:ext cx="987564" cy="438917"/>
          </a:xfrm>
          <a:prstGeom prst="rect">
            <a:avLst/>
          </a:prstGeom>
        </p:spPr>
      </p:pic>
      <p:sp>
        <p:nvSpPr>
          <p:cNvPr id="86" name="TextBox 85"/>
          <p:cNvSpPr txBox="1"/>
          <p:nvPr/>
        </p:nvSpPr>
        <p:spPr>
          <a:xfrm>
            <a:off x="2135472" y="2675921"/>
            <a:ext cx="2807752" cy="274437"/>
          </a:xfrm>
          <a:prstGeom prst="rect">
            <a:avLst/>
          </a:prstGeom>
          <a:solidFill>
            <a:schemeClr val="bg1"/>
          </a:solidFill>
          <a:ln w="15875">
            <a:solidFill>
              <a:srgbClr val="0078D7"/>
            </a:solidFill>
          </a:ln>
        </p:spPr>
        <p:txBody>
          <a:bodyPr wrap="square" lIns="93260" tIns="0" rIns="0" bIns="0" rtlCol="0" anchor="ctr">
            <a:noAutofit/>
          </a:bodyPr>
          <a:lstStyle/>
          <a:p>
            <a:r>
              <a:rPr lang="en-US" sz="1122" dirty="0">
                <a:solidFill>
                  <a:srgbClr val="FFFFFF"/>
                </a:solidFill>
                <a:cs typeface="Segoe UI" panose="020B0502040204020203" pitchFamily="34" charset="0"/>
              </a:rPr>
              <a:t>••••••••</a:t>
            </a:r>
            <a:endParaRPr lang="en-US" sz="1091" spc="-10" dirty="0">
              <a:solidFill>
                <a:srgbClr val="FFFFFF"/>
              </a:solidFill>
              <a:ea typeface="Segoe UI" panose="020B0502040204020203" pitchFamily="34" charset="0"/>
              <a:cs typeface="Segoe UI" panose="020B0502040204020203" pitchFamily="34" charset="0"/>
            </a:endParaRPr>
          </a:p>
        </p:txBody>
      </p:sp>
      <p:sp>
        <p:nvSpPr>
          <p:cNvPr id="87" name="Rectangle 86"/>
          <p:cNvSpPr/>
          <p:nvPr/>
        </p:nvSpPr>
        <p:spPr>
          <a:xfrm>
            <a:off x="2135473" y="2225674"/>
            <a:ext cx="2807753" cy="275226"/>
          </a:xfrm>
          <a:prstGeom prst="rect">
            <a:avLst/>
          </a:prstGeom>
          <a:solidFill>
            <a:schemeClr val="tx1">
              <a:alpha val="40000"/>
            </a:schemeClr>
          </a:solidFill>
          <a:ln w="15875">
            <a:solidFill>
              <a:schemeClr val="bg1">
                <a:alpha val="40000"/>
              </a:schemeClr>
            </a:solidFill>
          </a:ln>
        </p:spPr>
        <p:txBody>
          <a:bodyPr wrap="square" lIns="93260" tIns="0" rIns="0" bIns="0" rtlCol="0" anchor="ctr">
            <a:noAutofit/>
          </a:bodyPr>
          <a:lstStyle/>
          <a:p>
            <a:r>
              <a:rPr lang="en-US" sz="1091" spc="-10" dirty="0" smtClean="0">
                <a:solidFill>
                  <a:srgbClr val="000000">
                    <a:alpha val="40000"/>
                  </a:srgbClr>
                </a:solidFill>
                <a:ea typeface="Segoe UI" panose="020B0502040204020203" pitchFamily="34" charset="0"/>
                <a:cs typeface="Segoe UI" panose="020B0502040204020203" pitchFamily="34" charset="0"/>
              </a:rPr>
              <a:t>irwin@starbucks.com</a:t>
            </a:r>
            <a:endParaRPr lang="en-US" sz="1091" spc="-10" dirty="0">
              <a:solidFill>
                <a:srgbClr val="000000">
                  <a:alpha val="40000"/>
                </a:srgbClr>
              </a:solidFill>
              <a:ea typeface="Segoe UI" panose="020B0502040204020203" pitchFamily="34" charset="0"/>
              <a:cs typeface="Segoe UI" panose="020B0502040204020203" pitchFamily="34" charset="0"/>
            </a:endParaRPr>
          </a:p>
        </p:txBody>
      </p:sp>
      <p:sp>
        <p:nvSpPr>
          <p:cNvPr id="24" name="TextBox 23"/>
          <p:cNvSpPr txBox="1"/>
          <p:nvPr/>
        </p:nvSpPr>
        <p:spPr>
          <a:xfrm>
            <a:off x="2135472" y="1315545"/>
            <a:ext cx="5695604" cy="334071"/>
          </a:xfrm>
          <a:prstGeom prst="rect">
            <a:avLst/>
          </a:prstGeom>
          <a:noFill/>
        </p:spPr>
        <p:txBody>
          <a:bodyPr wrap="square" lIns="0" tIns="0" rIns="0" bIns="0" rtlCol="0" anchor="b" anchorCtr="0">
            <a:noAutofit/>
          </a:bodyPr>
          <a:lstStyle>
            <a:defPPr>
              <a:defRPr lang="en-US"/>
            </a:defPPr>
            <a:lvl1pPr>
              <a:defRPr sz="2000">
                <a:solidFill>
                  <a:srgbClr val="2672EC"/>
                </a:solidFill>
                <a:latin typeface="Segoe UI Light" panose="020B0502040204020203" pitchFamily="34" charset="0"/>
                <a:cs typeface="Segoe UI Light" panose="020B0502040204020203" pitchFamily="34" charset="0"/>
              </a:defRPr>
            </a:lvl1pPr>
          </a:lstStyle>
          <a:p>
            <a:pPr defTabSz="466298"/>
            <a:r>
              <a:rPr lang="en-US" sz="2448" dirty="0">
                <a:solidFill>
                  <a:srgbClr val="FFFFFF"/>
                </a:solidFill>
              </a:rPr>
              <a:t>Let’s get you signed in</a:t>
            </a:r>
            <a:endParaRPr lang="en-US" sz="2040" dirty="0">
              <a:solidFill>
                <a:srgbClr val="FFFFFF"/>
              </a:solidFill>
            </a:endParaRPr>
          </a:p>
        </p:txBody>
      </p:sp>
      <p:sp>
        <p:nvSpPr>
          <p:cNvPr id="25" name="Rectangle 1"/>
          <p:cNvSpPr/>
          <p:nvPr/>
        </p:nvSpPr>
        <p:spPr>
          <a:xfrm>
            <a:off x="2135472" y="1920435"/>
            <a:ext cx="2807752" cy="226857"/>
          </a:xfrm>
          <a:prstGeom prst="rect">
            <a:avLst/>
          </a:prstGeom>
          <a:noFill/>
        </p:spPr>
        <p:txBody>
          <a:bodyPr wrap="square" lIns="0" tIns="0" rIns="0" bIns="0" rtlCol="0">
            <a:spAutoFit/>
          </a:bodyPr>
          <a:lstStyle/>
          <a:p>
            <a:pPr defTabSz="466298">
              <a:lnSpc>
                <a:spcPct val="150000"/>
              </a:lnSpc>
            </a:pPr>
            <a:r>
              <a:rPr lang="en-US" sz="1122" dirty="0">
                <a:solidFill>
                  <a:srgbClr val="FFFFFF"/>
                </a:solidFill>
                <a:latin typeface="Segoe UI Semibold" panose="020B0702040204020203" pitchFamily="34" charset="0"/>
                <a:cs typeface="Segoe UI Semibold" panose="020B0702040204020203" pitchFamily="34" charset="0"/>
              </a:rPr>
              <a:t>Work or school account</a:t>
            </a:r>
          </a:p>
        </p:txBody>
      </p:sp>
      <p:sp>
        <p:nvSpPr>
          <p:cNvPr id="26" name="Rectangle 3"/>
          <p:cNvSpPr/>
          <p:nvPr/>
        </p:nvSpPr>
        <p:spPr>
          <a:xfrm>
            <a:off x="2135472" y="5171173"/>
            <a:ext cx="4147688" cy="201814"/>
          </a:xfrm>
          <a:prstGeom prst="rect">
            <a:avLst/>
          </a:prstGeom>
          <a:noFill/>
        </p:spPr>
        <p:txBody>
          <a:bodyPr wrap="square" lIns="0" tIns="0" rIns="0" bIns="0" rtlCol="0">
            <a:spAutoFit/>
          </a:bodyPr>
          <a:lstStyle/>
          <a:p>
            <a:pPr defTabSz="466298">
              <a:lnSpc>
                <a:spcPct val="150000"/>
              </a:lnSpc>
            </a:pPr>
            <a:r>
              <a:rPr lang="en-US" sz="857" dirty="0">
                <a:solidFill>
                  <a:srgbClr val="A6D8FF"/>
                </a:solidFill>
                <a:ea typeface="Segoe UI" panose="020B0502040204020203" pitchFamily="34" charset="0"/>
                <a:cs typeface="Segoe UI" panose="020B0502040204020203" pitchFamily="34" charset="0"/>
              </a:rPr>
              <a:t>Skip this step</a:t>
            </a:r>
          </a:p>
        </p:txBody>
      </p:sp>
      <p:sp>
        <p:nvSpPr>
          <p:cNvPr id="27" name="Rectangle 26"/>
          <p:cNvSpPr/>
          <p:nvPr/>
        </p:nvSpPr>
        <p:spPr>
          <a:xfrm>
            <a:off x="2135472" y="3033622"/>
            <a:ext cx="2807752" cy="264202"/>
          </a:xfrm>
          <a:prstGeom prst="rect">
            <a:avLst/>
          </a:prstGeom>
          <a:noFill/>
        </p:spPr>
        <p:txBody>
          <a:bodyPr wrap="square" lIns="0" tIns="0" rIns="0" bIns="0" rtlCol="0">
            <a:spAutoFit/>
          </a:bodyPr>
          <a:lstStyle/>
          <a:p>
            <a:pPr defTabSz="466298">
              <a:lnSpc>
                <a:spcPct val="150000"/>
              </a:lnSpc>
            </a:pPr>
            <a:r>
              <a:rPr lang="en-US" sz="1122" spc="-10" dirty="0">
                <a:solidFill>
                  <a:srgbClr val="A6D8FF"/>
                </a:solidFill>
                <a:ea typeface="Segoe UI" panose="020B0502040204020203" pitchFamily="34" charset="0"/>
                <a:cs typeface="Segoe UI" panose="020B0502040204020203" pitchFamily="34" charset="0"/>
              </a:rPr>
              <a:t>I forgot my password</a:t>
            </a:r>
          </a:p>
        </p:txBody>
      </p:sp>
    </p:spTree>
    <p:extLst>
      <p:ext uri="{BB962C8B-B14F-4D97-AF65-F5344CB8AC3E}">
        <p14:creationId xmlns:p14="http://schemas.microsoft.com/office/powerpoint/2010/main" val="227381971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dirty="0" smtClean="0"/>
              <a:t>Goodbye Passwords, </a:t>
            </a:r>
            <a:br>
              <a:rPr lang="en-US" sz="4800" dirty="0" smtClean="0"/>
            </a:br>
            <a:r>
              <a:rPr lang="en-US" sz="4800" dirty="0" smtClean="0"/>
              <a:t>Say Hello to Microsoft Passport</a:t>
            </a:r>
            <a:endParaRPr lang="en-US" sz="4800" dirty="0"/>
          </a:p>
        </p:txBody>
      </p:sp>
      <p:sp>
        <p:nvSpPr>
          <p:cNvPr id="3" name="Text Placeholder 2"/>
          <p:cNvSpPr>
            <a:spLocks noGrp="1"/>
          </p:cNvSpPr>
          <p:nvPr>
            <p:ph type="body" sz="quarter" idx="12"/>
          </p:nvPr>
        </p:nvSpPr>
        <p:spPr/>
        <p:txBody>
          <a:bodyPr/>
          <a:lstStyle/>
          <a:p>
            <a:r>
              <a:rPr lang="en-US" smtClean="0"/>
              <a:t>Nelly Porter</a:t>
            </a:r>
          </a:p>
          <a:p>
            <a:r>
              <a:rPr lang="en-US" smtClean="0"/>
              <a:t>Principal Program Manager Lead</a:t>
            </a:r>
          </a:p>
          <a:p>
            <a:r>
              <a:rPr lang="en-US" smtClean="0"/>
              <a:t>OS Security</a:t>
            </a:r>
            <a:endParaRPr lang="en-US" dirty="0"/>
          </a:p>
        </p:txBody>
      </p:sp>
      <p:sp>
        <p:nvSpPr>
          <p:cNvPr id="6" name="Text Placeholder 5"/>
          <p:cNvSpPr>
            <a:spLocks noGrp="1"/>
          </p:cNvSpPr>
          <p:nvPr>
            <p:ph type="body" sz="quarter" idx="13"/>
          </p:nvPr>
        </p:nvSpPr>
        <p:spPr/>
        <p:txBody>
          <a:bodyPr/>
          <a:lstStyle/>
          <a:p>
            <a:r>
              <a:rPr lang="en-US" dirty="0" smtClean="0"/>
              <a:t>BRK2333</a:t>
            </a:r>
            <a:endParaRPr lang="en-US" dirty="0"/>
          </a:p>
        </p:txBody>
      </p:sp>
    </p:spTree>
    <p:extLst>
      <p:ext uri="{BB962C8B-B14F-4D97-AF65-F5344CB8AC3E}">
        <p14:creationId xmlns:p14="http://schemas.microsoft.com/office/powerpoint/2010/main" val="14501490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5" name="TextBox 4"/>
          <p:cNvSpPr txBox="1"/>
          <p:nvPr/>
        </p:nvSpPr>
        <p:spPr>
          <a:xfrm>
            <a:off x="882" y="-900310"/>
            <a:ext cx="12434711" cy="476479"/>
          </a:xfrm>
          <a:prstGeom prst="rect">
            <a:avLst/>
          </a:prstGeom>
          <a:solidFill>
            <a:schemeClr val="accent6">
              <a:lumMod val="75000"/>
            </a:schemeClr>
          </a:solidFill>
        </p:spPr>
        <p:txBody>
          <a:bodyPr wrap="square" lIns="93260" tIns="93260" bIns="93260" rtlCol="0">
            <a:spAutoFit/>
          </a:bodyPr>
          <a:lstStyle/>
          <a:p>
            <a:r>
              <a:rPr lang="en-US" sz="1836" dirty="0">
                <a:solidFill>
                  <a:srgbClr val="000000"/>
                </a:solidFill>
                <a:cs typeface="Segoe UI" panose="020B0502040204020203" pitchFamily="34" charset="0"/>
              </a:rPr>
              <a:t>AAD sign in page, redirect to ADFS (for federated user)</a:t>
            </a:r>
          </a:p>
        </p:txBody>
      </p:sp>
      <p:grpSp>
        <p:nvGrpSpPr>
          <p:cNvPr id="6" name="Group 5"/>
          <p:cNvGrpSpPr/>
          <p:nvPr/>
        </p:nvGrpSpPr>
        <p:grpSpPr>
          <a:xfrm>
            <a:off x="-190601" y="-221990"/>
            <a:ext cx="12815205" cy="7943206"/>
            <a:chOff x="-187745" y="-217657"/>
            <a:chExt cx="12565067" cy="7788164"/>
          </a:xfrm>
        </p:grpSpPr>
        <p:sp>
          <p:nvSpPr>
            <p:cNvPr id="7" name="Rounded Rectangle 6"/>
            <p:cNvSpPr/>
            <p:nvPr/>
          </p:nvSpPr>
          <p:spPr>
            <a:xfrm>
              <a:off x="-187745" y="6908696"/>
              <a:ext cx="12565067" cy="661811"/>
            </a:xfrm>
            <a:prstGeom prst="roundRect">
              <a:avLst>
                <a:gd name="adj" fmla="val 12372"/>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rgbClr val="FFFFFF"/>
                </a:solidFill>
              </a:endParaRPr>
            </a:p>
          </p:txBody>
        </p:sp>
        <p:pic>
          <p:nvPicPr>
            <p:cNvPr id="8" name="Picture 7"/>
            <p:cNvPicPr>
              <a:picLocks noChangeAspect="1"/>
            </p:cNvPicPr>
            <p:nvPr/>
          </p:nvPicPr>
          <p:blipFill rotWithShape="1">
            <a:blip r:embed="rId3" cstate="print">
              <a:extLst>
                <a:ext uri="{28A0092B-C50C-407E-A947-70E740481C1C}">
                  <a14:useLocalDpi xmlns:a14="http://schemas.microsoft.com/office/drawing/2010/main" val="0"/>
                </a:ext>
              </a:extLst>
            </a:blip>
            <a:srcRect l="15890" t="13026" r="15630" b="12506"/>
            <a:stretch/>
          </p:blipFill>
          <p:spPr>
            <a:xfrm>
              <a:off x="5991714" y="6982364"/>
              <a:ext cx="419714" cy="456419"/>
            </a:xfrm>
            <a:prstGeom prst="rect">
              <a:avLst/>
            </a:prstGeom>
          </p:spPr>
        </p:pic>
        <p:sp>
          <p:nvSpPr>
            <p:cNvPr id="9" name="Rounded Rectangle 8"/>
            <p:cNvSpPr/>
            <p:nvPr/>
          </p:nvSpPr>
          <p:spPr>
            <a:xfrm>
              <a:off x="-187744" y="-217657"/>
              <a:ext cx="12565066" cy="178973"/>
            </a:xfrm>
            <a:prstGeom prst="roundRect">
              <a:avLst>
                <a:gd name="adj" fmla="val 50000"/>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rgbClr val="FFFFFF"/>
                </a:solidFill>
              </a:endParaRPr>
            </a:p>
          </p:txBody>
        </p:sp>
        <p:sp>
          <p:nvSpPr>
            <p:cNvPr id="10" name="Rounded Rectangle 9"/>
            <p:cNvSpPr/>
            <p:nvPr/>
          </p:nvSpPr>
          <p:spPr>
            <a:xfrm>
              <a:off x="-187744" y="-155574"/>
              <a:ext cx="149644" cy="7431138"/>
            </a:xfrm>
            <a:prstGeom prst="roundRect">
              <a:avLst>
                <a:gd name="adj" fmla="val 37018"/>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rgbClr val="FFFFFF"/>
                </a:solidFill>
              </a:endParaRPr>
            </a:p>
          </p:txBody>
        </p:sp>
        <p:sp>
          <p:nvSpPr>
            <p:cNvPr id="11" name="Rounded Rectangle 10"/>
            <p:cNvSpPr/>
            <p:nvPr/>
          </p:nvSpPr>
          <p:spPr>
            <a:xfrm>
              <a:off x="12227678" y="-155574"/>
              <a:ext cx="149644" cy="7431138"/>
            </a:xfrm>
            <a:prstGeom prst="roundRect">
              <a:avLst>
                <a:gd name="adj" fmla="val 37018"/>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rgbClr val="FFFFFF"/>
                </a:solidFill>
              </a:endParaRPr>
            </a:p>
          </p:txBody>
        </p:sp>
      </p:grpSp>
      <p:sp>
        <p:nvSpPr>
          <p:cNvPr id="16" name="Rectangle 15"/>
          <p:cNvSpPr/>
          <p:nvPr/>
        </p:nvSpPr>
        <p:spPr>
          <a:xfrm>
            <a:off x="-37977" y="-39453"/>
            <a:ext cx="12509958" cy="7085684"/>
          </a:xfrm>
          <a:prstGeom prst="rect">
            <a:avLst/>
          </a:prstGeom>
          <a:solidFill>
            <a:srgbClr val="005A9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rgbClr val="FFFFFF"/>
              </a:solidFill>
            </a:endParaRPr>
          </a:p>
        </p:txBody>
      </p:sp>
      <p:sp>
        <p:nvSpPr>
          <p:cNvPr id="17" name="Content Placeholder 2"/>
          <p:cNvSpPr txBox="1">
            <a:spLocks/>
          </p:cNvSpPr>
          <p:nvPr/>
        </p:nvSpPr>
        <p:spPr>
          <a:xfrm>
            <a:off x="3688777" y="3700637"/>
            <a:ext cx="5817185" cy="1565389"/>
          </a:xfrm>
          <a:prstGeom prst="rect">
            <a:avLst/>
          </a:prstGeom>
          <a:noFill/>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1632" spc="-31" dirty="0">
                <a:solidFill>
                  <a:srgbClr val="FFFFFF"/>
                </a:solidFill>
              </a:rPr>
              <a:t>Taking you to the sign-in page for </a:t>
            </a:r>
          </a:p>
          <a:p>
            <a:pPr marL="0" indent="0" algn="ctr">
              <a:buFont typeface="Arial" panose="020B0604020202020204" pitchFamily="34" charset="0"/>
              <a:buNone/>
            </a:pPr>
            <a:r>
              <a:rPr lang="en-US" sz="1632" spc="-31" dirty="0">
                <a:solidFill>
                  <a:srgbClr val="FFFFFF"/>
                </a:solidFill>
              </a:rPr>
              <a:t>your organization</a:t>
            </a:r>
          </a:p>
        </p:txBody>
      </p:sp>
      <p:sp>
        <p:nvSpPr>
          <p:cNvPr id="19" name="Arc 18"/>
          <p:cNvSpPr/>
          <p:nvPr/>
        </p:nvSpPr>
        <p:spPr>
          <a:xfrm>
            <a:off x="6085866" y="2579310"/>
            <a:ext cx="938478" cy="938478"/>
          </a:xfrm>
          <a:prstGeom prst="arc">
            <a:avLst>
              <a:gd name="adj1" fmla="val 14618078"/>
              <a:gd name="adj2" fmla="val 3565548"/>
            </a:avLst>
          </a:prstGeom>
          <a:noFill/>
          <a:ln w="38100">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rgbClr val="FFFFFF"/>
              </a:solidFill>
            </a:endParaRPr>
          </a:p>
        </p:txBody>
      </p:sp>
    </p:spTree>
    <p:extLst>
      <p:ext uri="{BB962C8B-B14F-4D97-AF65-F5344CB8AC3E}">
        <p14:creationId xmlns:p14="http://schemas.microsoft.com/office/powerpoint/2010/main" val="170848941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pSp>
        <p:nvGrpSpPr>
          <p:cNvPr id="46" name="Group 45"/>
          <p:cNvGrpSpPr/>
          <p:nvPr/>
        </p:nvGrpSpPr>
        <p:grpSpPr>
          <a:xfrm>
            <a:off x="-190601" y="-221990"/>
            <a:ext cx="12815205" cy="7943206"/>
            <a:chOff x="-187745" y="-217657"/>
            <a:chExt cx="12565067" cy="7788164"/>
          </a:xfrm>
        </p:grpSpPr>
        <p:sp>
          <p:nvSpPr>
            <p:cNvPr id="56" name="Rounded Rectangle 55"/>
            <p:cNvSpPr/>
            <p:nvPr/>
          </p:nvSpPr>
          <p:spPr>
            <a:xfrm>
              <a:off x="-187745" y="6908696"/>
              <a:ext cx="12565067" cy="661811"/>
            </a:xfrm>
            <a:prstGeom prst="roundRect">
              <a:avLst>
                <a:gd name="adj" fmla="val 12372"/>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rgbClr val="FFFFFF"/>
                </a:solidFill>
              </a:endParaRPr>
            </a:p>
          </p:txBody>
        </p:sp>
        <p:pic>
          <p:nvPicPr>
            <p:cNvPr id="57" name="Picture 56"/>
            <p:cNvPicPr>
              <a:picLocks noChangeAspect="1"/>
            </p:cNvPicPr>
            <p:nvPr/>
          </p:nvPicPr>
          <p:blipFill rotWithShape="1">
            <a:blip r:embed="rId3" cstate="print">
              <a:extLst>
                <a:ext uri="{28A0092B-C50C-407E-A947-70E740481C1C}">
                  <a14:useLocalDpi xmlns:a14="http://schemas.microsoft.com/office/drawing/2010/main" val="0"/>
                </a:ext>
              </a:extLst>
            </a:blip>
            <a:srcRect l="15890" t="13026" r="15630" b="12506"/>
            <a:stretch/>
          </p:blipFill>
          <p:spPr>
            <a:xfrm>
              <a:off x="5991714" y="6982364"/>
              <a:ext cx="419714" cy="456419"/>
            </a:xfrm>
            <a:prstGeom prst="rect">
              <a:avLst/>
            </a:prstGeom>
          </p:spPr>
        </p:pic>
        <p:sp>
          <p:nvSpPr>
            <p:cNvPr id="58" name="Rounded Rectangle 57"/>
            <p:cNvSpPr/>
            <p:nvPr/>
          </p:nvSpPr>
          <p:spPr>
            <a:xfrm>
              <a:off x="-187744" y="-217657"/>
              <a:ext cx="12565066" cy="178973"/>
            </a:xfrm>
            <a:prstGeom prst="roundRect">
              <a:avLst>
                <a:gd name="adj" fmla="val 50000"/>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rgbClr val="FFFFFF"/>
                </a:solidFill>
              </a:endParaRPr>
            </a:p>
          </p:txBody>
        </p:sp>
        <p:sp>
          <p:nvSpPr>
            <p:cNvPr id="59" name="Rounded Rectangle 58"/>
            <p:cNvSpPr/>
            <p:nvPr/>
          </p:nvSpPr>
          <p:spPr>
            <a:xfrm>
              <a:off x="-187744" y="-155574"/>
              <a:ext cx="149644" cy="7431138"/>
            </a:xfrm>
            <a:prstGeom prst="roundRect">
              <a:avLst>
                <a:gd name="adj" fmla="val 37018"/>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rgbClr val="FFFFFF"/>
                </a:solidFill>
              </a:endParaRPr>
            </a:p>
          </p:txBody>
        </p:sp>
        <p:sp>
          <p:nvSpPr>
            <p:cNvPr id="60" name="Rounded Rectangle 59"/>
            <p:cNvSpPr/>
            <p:nvPr/>
          </p:nvSpPr>
          <p:spPr>
            <a:xfrm>
              <a:off x="12227678" y="-155574"/>
              <a:ext cx="149644" cy="7431138"/>
            </a:xfrm>
            <a:prstGeom prst="roundRect">
              <a:avLst>
                <a:gd name="adj" fmla="val 37018"/>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rgbClr val="FFFFFF"/>
                </a:solidFill>
              </a:endParaRPr>
            </a:p>
          </p:txBody>
        </p:sp>
      </p:grpSp>
      <p:sp>
        <p:nvSpPr>
          <p:cNvPr id="27" name="Rectangle 26"/>
          <p:cNvSpPr/>
          <p:nvPr/>
        </p:nvSpPr>
        <p:spPr>
          <a:xfrm>
            <a:off x="-37977" y="-39453"/>
            <a:ext cx="12509958" cy="7085684"/>
          </a:xfrm>
          <a:prstGeom prst="rect">
            <a:avLst/>
          </a:prstGeom>
          <a:solidFill>
            <a:srgbClr val="005A9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rgbClr val="FFFFFF"/>
              </a:solidFill>
            </a:endParaRPr>
          </a:p>
        </p:txBody>
      </p:sp>
      <p:sp>
        <p:nvSpPr>
          <p:cNvPr id="18" name="TextBox 17"/>
          <p:cNvSpPr txBox="1"/>
          <p:nvPr/>
        </p:nvSpPr>
        <p:spPr>
          <a:xfrm>
            <a:off x="2160537" y="1315545"/>
            <a:ext cx="5695604" cy="334071"/>
          </a:xfrm>
          <a:prstGeom prst="rect">
            <a:avLst/>
          </a:prstGeom>
          <a:noFill/>
        </p:spPr>
        <p:txBody>
          <a:bodyPr wrap="square" lIns="0" tIns="0" rIns="0" bIns="0" rtlCol="0" anchor="b" anchorCtr="0">
            <a:noAutofit/>
          </a:bodyPr>
          <a:lstStyle>
            <a:defPPr>
              <a:defRPr lang="en-US"/>
            </a:defPPr>
            <a:lvl1pPr>
              <a:defRPr sz="2000">
                <a:solidFill>
                  <a:srgbClr val="2672EC"/>
                </a:solidFill>
                <a:latin typeface="Segoe UI Light" panose="020B0502040204020203" pitchFamily="34" charset="0"/>
                <a:cs typeface="Segoe UI Light" panose="020B0502040204020203" pitchFamily="34" charset="0"/>
              </a:defRPr>
            </a:lvl1pPr>
          </a:lstStyle>
          <a:p>
            <a:pPr defTabSz="466209"/>
            <a:r>
              <a:rPr lang="en-US" sz="2448" dirty="0">
                <a:solidFill>
                  <a:srgbClr val="FFFFFF"/>
                </a:solidFill>
              </a:rPr>
              <a:t>Create a work PIN</a:t>
            </a:r>
          </a:p>
        </p:txBody>
      </p:sp>
      <p:sp>
        <p:nvSpPr>
          <p:cNvPr id="66" name="Rectangle 65"/>
          <p:cNvSpPr/>
          <p:nvPr/>
        </p:nvSpPr>
        <p:spPr>
          <a:xfrm>
            <a:off x="2185079" y="1985687"/>
            <a:ext cx="5824965" cy="1231106"/>
          </a:xfrm>
          <a:prstGeom prst="rect">
            <a:avLst/>
          </a:prstGeom>
          <a:noFill/>
        </p:spPr>
        <p:txBody>
          <a:bodyPr wrap="square" lIns="0" tIns="0" rIns="0" bIns="0" rtlCol="0">
            <a:spAutoFit/>
          </a:bodyPr>
          <a:lstStyle/>
          <a:p>
            <a:r>
              <a:rPr lang="en-US" sz="1600" dirty="0">
                <a:solidFill>
                  <a:srgbClr val="FFFFFF"/>
                </a:solidFill>
                <a:cs typeface="Segoe UI" panose="020B0502040204020203" pitchFamily="34" charset="0"/>
              </a:rPr>
              <a:t>You’ll use your work PIN to unlock this device and access your organization’s apps and services. </a:t>
            </a:r>
          </a:p>
          <a:p>
            <a:endParaRPr lang="en-US" sz="1600" dirty="0">
              <a:solidFill>
                <a:srgbClr val="FFFFFF"/>
              </a:solidFill>
              <a:cs typeface="Segoe UI" panose="020B0502040204020203" pitchFamily="34" charset="0"/>
            </a:endParaRPr>
          </a:p>
          <a:p>
            <a:r>
              <a:rPr lang="en-US" sz="1600" dirty="0">
                <a:solidFill>
                  <a:srgbClr val="FFFFFF"/>
                </a:solidFill>
                <a:cs typeface="Segoe UI" panose="020B0502040204020203" pitchFamily="34" charset="0"/>
              </a:rPr>
              <a:t>A PIN is faster to use and more secure than a password</a:t>
            </a:r>
            <a:r>
              <a:rPr lang="en-US" sz="1600" dirty="0">
                <a:solidFill>
                  <a:srgbClr val="00BDF3"/>
                </a:solidFill>
                <a:cs typeface="Segoe UI" panose="020B0502040204020203" pitchFamily="34" charset="0"/>
              </a:rPr>
              <a:t>. </a:t>
            </a:r>
            <a:r>
              <a:rPr lang="en-US" sz="1600" spc="-10" dirty="0">
                <a:solidFill>
                  <a:srgbClr val="00BDF3"/>
                </a:solidFill>
                <a:ea typeface="Segoe UI" panose="020B0502040204020203" pitchFamily="34" charset="0"/>
                <a:cs typeface="Segoe UI" panose="020B0502040204020203" pitchFamily="34" charset="0"/>
              </a:rPr>
              <a:t>How can short PIN be safer than a long password?</a:t>
            </a:r>
            <a:r>
              <a:rPr lang="en-US" sz="1600" u="sng" dirty="0">
                <a:solidFill>
                  <a:srgbClr val="00BDF3"/>
                </a:solidFill>
                <a:cs typeface="Segoe UI" panose="020B0502040204020203" pitchFamily="34" charset="0"/>
              </a:rPr>
              <a:t> </a:t>
            </a:r>
          </a:p>
        </p:txBody>
      </p:sp>
      <p:sp>
        <p:nvSpPr>
          <p:cNvPr id="45" name="TextBox 44"/>
          <p:cNvSpPr txBox="1"/>
          <p:nvPr/>
        </p:nvSpPr>
        <p:spPr>
          <a:xfrm>
            <a:off x="882" y="-900310"/>
            <a:ext cx="12434711" cy="476479"/>
          </a:xfrm>
          <a:prstGeom prst="rect">
            <a:avLst/>
          </a:prstGeom>
          <a:solidFill>
            <a:schemeClr val="accent6">
              <a:lumMod val="75000"/>
            </a:schemeClr>
          </a:solidFill>
        </p:spPr>
        <p:txBody>
          <a:bodyPr wrap="square" lIns="93260" tIns="93260" bIns="93260" rtlCol="0">
            <a:spAutoFit/>
          </a:bodyPr>
          <a:lstStyle/>
          <a:p>
            <a:r>
              <a:rPr lang="en-US" sz="1836" dirty="0">
                <a:solidFill>
                  <a:srgbClr val="000000"/>
                </a:solidFill>
                <a:cs typeface="Segoe UI" panose="020B0502040204020203" pitchFamily="34" charset="0"/>
              </a:rPr>
              <a:t>PIN collection for AAD NGC container (post logon task)</a:t>
            </a:r>
          </a:p>
        </p:txBody>
      </p:sp>
      <p:sp>
        <p:nvSpPr>
          <p:cNvPr id="28" name="Rectangle 1"/>
          <p:cNvSpPr/>
          <p:nvPr/>
        </p:nvSpPr>
        <p:spPr>
          <a:xfrm>
            <a:off x="9211480" y="5908175"/>
            <a:ext cx="1086897" cy="274418"/>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9891" tIns="27978" rIns="139891" bIns="27978" rtlCol="0" anchor="ctr" anchorCtr="0">
            <a:noAutofit/>
          </a:bodyPr>
          <a:lstStyle/>
          <a:p>
            <a:pPr algn="ctr" defTabSz="466298"/>
            <a:r>
              <a:rPr lang="en-US" sz="1020" dirty="0">
                <a:solidFill>
                  <a:prstClr val="white"/>
                </a:solidFill>
                <a:cs typeface="Segoe UI" panose="020B0502040204020203" pitchFamily="34" charset="0"/>
              </a:rPr>
              <a:t>Create PIN</a:t>
            </a:r>
          </a:p>
        </p:txBody>
      </p:sp>
      <p:pic>
        <p:nvPicPr>
          <p:cNvPr id="83" name="Picture 5" descr="C:\Users\James Hwang\Desktop\MS\MSA\OOBE PIN\PNGs\Mobile_MSA_PIN_02_25_2015_PIN-1.png"/>
          <p:cNvPicPr>
            <a:picLocks noChangeAspect="1" noChangeArrowheads="1"/>
          </p:cNvPicPr>
          <p:nvPr/>
        </p:nvPicPr>
        <p:blipFill rotWithShape="1">
          <a:blip r:embed="rId4">
            <a:clrChange>
              <a:clrFrom>
                <a:srgbClr val="000000"/>
              </a:clrFrom>
              <a:clrTo>
                <a:srgbClr val="000000">
                  <a:alpha val="0"/>
                </a:srgbClr>
              </a:clrTo>
            </a:clrChange>
            <a:extLst>
              <a:ext uri="{28A0092B-C50C-407E-A947-70E740481C1C}">
                <a14:useLocalDpi xmlns:a14="http://schemas.microsoft.com/office/drawing/2010/main" val="0"/>
              </a:ext>
            </a:extLst>
          </a:blip>
          <a:srcRect l="27563" t="47413" r="27885" b="15034"/>
          <a:stretch/>
        </p:blipFill>
        <p:spPr bwMode="auto">
          <a:xfrm>
            <a:off x="5208106" y="3242528"/>
            <a:ext cx="2057648" cy="2190878"/>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p:cNvPicPr>
            <a:picLocks noChangeAspect="1"/>
          </p:cNvPicPr>
          <p:nvPr/>
        </p:nvPicPr>
        <p:blipFill rotWithShape="1">
          <a:blip r:embed="rId5">
            <a:extLst>
              <a:ext uri="{28A0092B-C50C-407E-A947-70E740481C1C}">
                <a14:useLocalDpi xmlns:a14="http://schemas.microsoft.com/office/drawing/2010/main" val="0"/>
              </a:ext>
            </a:extLst>
          </a:blip>
          <a:srcRect r="52653"/>
          <a:stretch/>
        </p:blipFill>
        <p:spPr>
          <a:xfrm>
            <a:off x="2049385" y="5827011"/>
            <a:ext cx="467583" cy="438917"/>
          </a:xfrm>
          <a:prstGeom prst="rect">
            <a:avLst/>
          </a:prstGeom>
        </p:spPr>
      </p:pic>
    </p:spTree>
    <p:extLst>
      <p:ext uri="{BB962C8B-B14F-4D97-AF65-F5344CB8AC3E}">
        <p14:creationId xmlns:p14="http://schemas.microsoft.com/office/powerpoint/2010/main" val="272579778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pSp>
        <p:nvGrpSpPr>
          <p:cNvPr id="41" name="Group 40"/>
          <p:cNvGrpSpPr/>
          <p:nvPr/>
        </p:nvGrpSpPr>
        <p:grpSpPr>
          <a:xfrm>
            <a:off x="-190601" y="-221990"/>
            <a:ext cx="12815205" cy="7943206"/>
            <a:chOff x="-187745" y="-217657"/>
            <a:chExt cx="12565067" cy="7788164"/>
          </a:xfrm>
        </p:grpSpPr>
        <p:sp>
          <p:nvSpPr>
            <p:cNvPr id="42" name="Rounded Rectangle 41"/>
            <p:cNvSpPr/>
            <p:nvPr/>
          </p:nvSpPr>
          <p:spPr>
            <a:xfrm>
              <a:off x="-187745" y="6908696"/>
              <a:ext cx="12565067" cy="661811"/>
            </a:xfrm>
            <a:prstGeom prst="roundRect">
              <a:avLst>
                <a:gd name="adj" fmla="val 12372"/>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rgbClr val="FFFFFF"/>
                </a:solidFill>
              </a:endParaRPr>
            </a:p>
          </p:txBody>
        </p:sp>
        <p:pic>
          <p:nvPicPr>
            <p:cNvPr id="43" name="Picture 42"/>
            <p:cNvPicPr>
              <a:picLocks noChangeAspect="1"/>
            </p:cNvPicPr>
            <p:nvPr/>
          </p:nvPicPr>
          <p:blipFill rotWithShape="1">
            <a:blip r:embed="rId3" cstate="print">
              <a:extLst>
                <a:ext uri="{28A0092B-C50C-407E-A947-70E740481C1C}">
                  <a14:useLocalDpi xmlns:a14="http://schemas.microsoft.com/office/drawing/2010/main" val="0"/>
                </a:ext>
              </a:extLst>
            </a:blip>
            <a:srcRect l="15890" t="13026" r="15630" b="12506"/>
            <a:stretch/>
          </p:blipFill>
          <p:spPr>
            <a:xfrm>
              <a:off x="5991714" y="6982364"/>
              <a:ext cx="419714" cy="456419"/>
            </a:xfrm>
            <a:prstGeom prst="rect">
              <a:avLst/>
            </a:prstGeom>
          </p:spPr>
        </p:pic>
        <p:sp>
          <p:nvSpPr>
            <p:cNvPr id="44" name="Rounded Rectangle 43"/>
            <p:cNvSpPr/>
            <p:nvPr/>
          </p:nvSpPr>
          <p:spPr>
            <a:xfrm>
              <a:off x="-187744" y="-217657"/>
              <a:ext cx="12565066" cy="178973"/>
            </a:xfrm>
            <a:prstGeom prst="roundRect">
              <a:avLst>
                <a:gd name="adj" fmla="val 50000"/>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rgbClr val="FFFFFF"/>
                </a:solidFill>
              </a:endParaRPr>
            </a:p>
          </p:txBody>
        </p:sp>
        <p:sp>
          <p:nvSpPr>
            <p:cNvPr id="47" name="Rounded Rectangle 46"/>
            <p:cNvSpPr/>
            <p:nvPr/>
          </p:nvSpPr>
          <p:spPr>
            <a:xfrm>
              <a:off x="-187744" y="-155574"/>
              <a:ext cx="149644" cy="7431138"/>
            </a:xfrm>
            <a:prstGeom prst="roundRect">
              <a:avLst>
                <a:gd name="adj" fmla="val 37018"/>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rgbClr val="FFFFFF"/>
                </a:solidFill>
              </a:endParaRPr>
            </a:p>
          </p:txBody>
        </p:sp>
        <p:sp>
          <p:nvSpPr>
            <p:cNvPr id="48" name="Rounded Rectangle 47"/>
            <p:cNvSpPr/>
            <p:nvPr/>
          </p:nvSpPr>
          <p:spPr>
            <a:xfrm>
              <a:off x="12227678" y="-155574"/>
              <a:ext cx="149644" cy="7431138"/>
            </a:xfrm>
            <a:prstGeom prst="roundRect">
              <a:avLst>
                <a:gd name="adj" fmla="val 37018"/>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rgbClr val="FFFFFF"/>
                </a:solidFill>
              </a:endParaRPr>
            </a:p>
          </p:txBody>
        </p:sp>
      </p:grpSp>
      <p:sp>
        <p:nvSpPr>
          <p:cNvPr id="49" name="Rectangle 48"/>
          <p:cNvSpPr/>
          <p:nvPr/>
        </p:nvSpPr>
        <p:spPr>
          <a:xfrm>
            <a:off x="-37977" y="-39453"/>
            <a:ext cx="12509958" cy="7085684"/>
          </a:xfrm>
          <a:prstGeom prst="rect">
            <a:avLst/>
          </a:prstGeom>
          <a:solidFill>
            <a:srgbClr val="005A9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rgbClr val="FFFFFF"/>
              </a:solidFill>
            </a:endParaRPr>
          </a:p>
        </p:txBody>
      </p:sp>
      <p:sp>
        <p:nvSpPr>
          <p:cNvPr id="50" name="TextBox 49"/>
          <p:cNvSpPr txBox="1"/>
          <p:nvPr/>
        </p:nvSpPr>
        <p:spPr>
          <a:xfrm>
            <a:off x="2160537" y="1315545"/>
            <a:ext cx="5695604" cy="334071"/>
          </a:xfrm>
          <a:prstGeom prst="rect">
            <a:avLst/>
          </a:prstGeom>
          <a:noFill/>
        </p:spPr>
        <p:txBody>
          <a:bodyPr wrap="square" lIns="0" tIns="0" rIns="0" bIns="0" rtlCol="0" anchor="b" anchorCtr="0">
            <a:noAutofit/>
          </a:bodyPr>
          <a:lstStyle>
            <a:defPPr>
              <a:defRPr lang="en-US"/>
            </a:defPPr>
            <a:lvl1pPr>
              <a:defRPr sz="2000">
                <a:solidFill>
                  <a:srgbClr val="2672EC"/>
                </a:solidFill>
                <a:latin typeface="Segoe UI Light" panose="020B0502040204020203" pitchFamily="34" charset="0"/>
                <a:cs typeface="Segoe UI Light" panose="020B0502040204020203" pitchFamily="34" charset="0"/>
              </a:defRPr>
            </a:lvl1pPr>
          </a:lstStyle>
          <a:p>
            <a:pPr defTabSz="466209"/>
            <a:r>
              <a:rPr lang="en-US" sz="2448" dirty="0">
                <a:solidFill>
                  <a:srgbClr val="000000">
                    <a:lumMod val="95000"/>
                  </a:srgbClr>
                </a:solidFill>
              </a:rPr>
              <a:t>Create a work PIN</a:t>
            </a:r>
          </a:p>
        </p:txBody>
      </p:sp>
      <p:sp>
        <p:nvSpPr>
          <p:cNvPr id="51" name="Rectangle 50"/>
          <p:cNvSpPr/>
          <p:nvPr/>
        </p:nvSpPr>
        <p:spPr>
          <a:xfrm>
            <a:off x="2185079" y="1985687"/>
            <a:ext cx="5824965" cy="1056678"/>
          </a:xfrm>
          <a:prstGeom prst="rect">
            <a:avLst/>
          </a:prstGeom>
          <a:noFill/>
        </p:spPr>
        <p:txBody>
          <a:bodyPr wrap="square" lIns="0" tIns="0" rIns="0" bIns="0" rtlCol="0">
            <a:spAutoFit/>
          </a:bodyPr>
          <a:lstStyle/>
          <a:p>
            <a:r>
              <a:rPr lang="en-US" sz="1122" dirty="0">
                <a:solidFill>
                  <a:srgbClr val="000000">
                    <a:lumMod val="95000"/>
                  </a:srgbClr>
                </a:solidFill>
                <a:cs typeface="Segoe UI" panose="020B0502040204020203" pitchFamily="34" charset="0"/>
              </a:rPr>
              <a:t>You’ll use your work PIN to unlock this device and access your organization’s apps and services. </a:t>
            </a:r>
          </a:p>
          <a:p>
            <a:endParaRPr lang="en-US" sz="1122" dirty="0">
              <a:solidFill>
                <a:srgbClr val="000000">
                  <a:lumMod val="95000"/>
                </a:srgbClr>
              </a:solidFill>
              <a:cs typeface="Segoe UI" panose="020B0502040204020203" pitchFamily="34" charset="0"/>
            </a:endParaRPr>
          </a:p>
          <a:p>
            <a:r>
              <a:rPr lang="en-US" sz="1122" dirty="0">
                <a:solidFill>
                  <a:srgbClr val="000000">
                    <a:lumMod val="95000"/>
                  </a:srgbClr>
                </a:solidFill>
                <a:cs typeface="Segoe UI" panose="020B0502040204020203" pitchFamily="34" charset="0"/>
              </a:rPr>
              <a:t>A PIN is faster to use and more secure than a password. </a:t>
            </a:r>
            <a:r>
              <a:rPr lang="en-US" sz="1122" spc="-10" dirty="0">
                <a:solidFill>
                  <a:srgbClr val="A6D8FF"/>
                </a:solidFill>
                <a:ea typeface="Segoe UI" panose="020B0502040204020203" pitchFamily="34" charset="0"/>
                <a:cs typeface="Segoe UI" panose="020B0502040204020203" pitchFamily="34" charset="0"/>
              </a:rPr>
              <a:t>How can short PIN be safer than a long password?</a:t>
            </a:r>
            <a:r>
              <a:rPr lang="en-US" sz="1122" u="sng" dirty="0">
                <a:solidFill>
                  <a:srgbClr val="000000">
                    <a:lumMod val="95000"/>
                  </a:srgbClr>
                </a:solidFill>
                <a:cs typeface="Segoe UI" panose="020B0502040204020203" pitchFamily="34" charset="0"/>
              </a:rPr>
              <a:t> </a:t>
            </a:r>
          </a:p>
          <a:p>
            <a:endParaRPr lang="en-US" sz="1122" spc="-10" dirty="0">
              <a:solidFill>
                <a:srgbClr val="A6D8FF"/>
              </a:solidFill>
              <a:ea typeface="Segoe UI" panose="020B0502040204020203" pitchFamily="34" charset="0"/>
              <a:cs typeface="Segoe UI" panose="020B0502040204020203" pitchFamily="34" charset="0"/>
            </a:endParaRPr>
          </a:p>
        </p:txBody>
      </p:sp>
      <p:sp>
        <p:nvSpPr>
          <p:cNvPr id="52" name="Rectangle 1"/>
          <p:cNvSpPr/>
          <p:nvPr/>
        </p:nvSpPr>
        <p:spPr>
          <a:xfrm>
            <a:off x="9211480" y="5908175"/>
            <a:ext cx="1086897" cy="274418"/>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9891" tIns="27978" rIns="139891" bIns="27978" rtlCol="0" anchor="ctr" anchorCtr="0">
            <a:noAutofit/>
          </a:bodyPr>
          <a:lstStyle/>
          <a:p>
            <a:pPr algn="ctr" defTabSz="466298"/>
            <a:r>
              <a:rPr lang="en-US" sz="1020" dirty="0">
                <a:solidFill>
                  <a:prstClr val="white"/>
                </a:solidFill>
                <a:cs typeface="Segoe UI" panose="020B0502040204020203" pitchFamily="34" charset="0"/>
              </a:rPr>
              <a:t>Create PIN</a:t>
            </a:r>
          </a:p>
        </p:txBody>
      </p:sp>
      <p:pic>
        <p:nvPicPr>
          <p:cNvPr id="54" name="Picture 5" descr="C:\Users\James Hwang\Desktop\MS\MSA\OOBE PIN\PNGs\Mobile_MSA_PIN_02_25_2015_PIN-1.png"/>
          <p:cNvPicPr>
            <a:picLocks noChangeAspect="1" noChangeArrowheads="1"/>
          </p:cNvPicPr>
          <p:nvPr/>
        </p:nvPicPr>
        <p:blipFill rotWithShape="1">
          <a:blip r:embed="rId4">
            <a:clrChange>
              <a:clrFrom>
                <a:srgbClr val="000000"/>
              </a:clrFrom>
              <a:clrTo>
                <a:srgbClr val="000000">
                  <a:alpha val="0"/>
                </a:srgbClr>
              </a:clrTo>
            </a:clrChange>
            <a:extLst>
              <a:ext uri="{28A0092B-C50C-407E-A947-70E740481C1C}">
                <a14:useLocalDpi xmlns:a14="http://schemas.microsoft.com/office/drawing/2010/main" val="0"/>
              </a:ext>
            </a:extLst>
          </a:blip>
          <a:srcRect l="27563" t="47413" r="27885" b="15034"/>
          <a:stretch/>
        </p:blipFill>
        <p:spPr bwMode="auto">
          <a:xfrm>
            <a:off x="4945159" y="2917996"/>
            <a:ext cx="2057648" cy="2190878"/>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54"/>
          <p:cNvPicPr>
            <a:picLocks noChangeAspect="1"/>
          </p:cNvPicPr>
          <p:nvPr/>
        </p:nvPicPr>
        <p:blipFill rotWithShape="1">
          <a:blip r:embed="rId5">
            <a:extLst>
              <a:ext uri="{28A0092B-C50C-407E-A947-70E740481C1C}">
                <a14:useLocalDpi xmlns:a14="http://schemas.microsoft.com/office/drawing/2010/main" val="0"/>
              </a:ext>
            </a:extLst>
          </a:blip>
          <a:srcRect r="52653"/>
          <a:stretch/>
        </p:blipFill>
        <p:spPr>
          <a:xfrm>
            <a:off x="2049385" y="5827011"/>
            <a:ext cx="467583" cy="438917"/>
          </a:xfrm>
          <a:prstGeom prst="rect">
            <a:avLst/>
          </a:prstGeom>
        </p:spPr>
      </p:pic>
      <p:sp>
        <p:nvSpPr>
          <p:cNvPr id="45" name="TextBox 44"/>
          <p:cNvSpPr txBox="1"/>
          <p:nvPr/>
        </p:nvSpPr>
        <p:spPr>
          <a:xfrm>
            <a:off x="882" y="-900310"/>
            <a:ext cx="12434711" cy="476479"/>
          </a:xfrm>
          <a:prstGeom prst="rect">
            <a:avLst/>
          </a:prstGeom>
          <a:solidFill>
            <a:schemeClr val="accent6">
              <a:lumMod val="75000"/>
            </a:schemeClr>
          </a:solidFill>
        </p:spPr>
        <p:txBody>
          <a:bodyPr wrap="square" lIns="93260" tIns="93260" bIns="93260" rtlCol="0">
            <a:spAutoFit/>
          </a:bodyPr>
          <a:lstStyle/>
          <a:p>
            <a:r>
              <a:rPr lang="en-US" sz="1836" dirty="0">
                <a:solidFill>
                  <a:srgbClr val="000000"/>
                </a:solidFill>
                <a:cs typeface="Segoe UI" panose="020B0502040204020203" pitchFamily="34" charset="0"/>
              </a:rPr>
              <a:t>Popup text with details</a:t>
            </a:r>
          </a:p>
        </p:txBody>
      </p:sp>
      <p:sp>
        <p:nvSpPr>
          <p:cNvPr id="26" name="Rectangle 25"/>
          <p:cNvSpPr/>
          <p:nvPr/>
        </p:nvSpPr>
        <p:spPr>
          <a:xfrm>
            <a:off x="-29519" y="-39454"/>
            <a:ext cx="12509958" cy="7085683"/>
          </a:xfrm>
          <a:prstGeom prst="rect">
            <a:avLst/>
          </a:prstGeom>
          <a:solidFill>
            <a:schemeClr val="bg1">
              <a:lumMod val="50000"/>
              <a:alpha val="39000"/>
            </a:schemeClr>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66298"/>
            <a:endParaRPr lang="en-US" sz="1836">
              <a:solidFill>
                <a:prstClr val="white"/>
              </a:solidFill>
            </a:endParaRPr>
          </a:p>
        </p:txBody>
      </p:sp>
      <p:sp>
        <p:nvSpPr>
          <p:cNvPr id="29" name="Rectangle 28"/>
          <p:cNvSpPr/>
          <p:nvPr/>
        </p:nvSpPr>
        <p:spPr>
          <a:xfrm>
            <a:off x="1798636" y="2635608"/>
            <a:ext cx="8492043" cy="1590250"/>
          </a:xfrm>
          <a:prstGeom prst="rect">
            <a:avLst/>
          </a:prstGeom>
          <a:solidFill>
            <a:schemeClr val="bg1"/>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1224"/>
              </a:spcBef>
            </a:pPr>
            <a:r>
              <a:rPr lang="en-US" sz="1600" b="1" dirty="0">
                <a:solidFill>
                  <a:srgbClr val="00BDF3"/>
                </a:solidFill>
              </a:rPr>
              <a:t>Because it’s not about size, really.</a:t>
            </a:r>
            <a:r>
              <a:rPr lang="en-US" sz="1600" dirty="0">
                <a:solidFill>
                  <a:srgbClr val="00BDF3"/>
                </a:solidFill>
              </a:rPr>
              <a:t> </a:t>
            </a:r>
          </a:p>
          <a:p>
            <a:pPr>
              <a:spcBef>
                <a:spcPts val="1224"/>
              </a:spcBef>
            </a:pPr>
            <a:r>
              <a:rPr lang="en-US" sz="1400" dirty="0">
                <a:solidFill>
                  <a:srgbClr val="00BDF3"/>
                </a:solidFill>
              </a:rPr>
              <a:t>What matters more is that your PIN doesn’t work with any device but this one.</a:t>
            </a:r>
          </a:p>
          <a:p>
            <a:pPr>
              <a:spcBef>
                <a:spcPts val="612"/>
              </a:spcBef>
            </a:pPr>
            <a:r>
              <a:rPr lang="en-US" sz="1400" dirty="0" smtClean="0">
                <a:solidFill>
                  <a:srgbClr val="00BDF3"/>
                </a:solidFill>
              </a:rPr>
              <a:t>Think </a:t>
            </a:r>
            <a:r>
              <a:rPr lang="en-US" sz="1400" dirty="0">
                <a:solidFill>
                  <a:srgbClr val="00BDF3"/>
                </a:solidFill>
              </a:rPr>
              <a:t>of an ATM: A thief couldn’t just steal your PIN, then put his own card in a cash machine and take your money. He’d have to have your card. Similarly, the PIN you create here is useless to a distant hacker—your PIN works only with your device. </a:t>
            </a:r>
          </a:p>
        </p:txBody>
      </p:sp>
    </p:spTree>
    <p:extLst>
      <p:ext uri="{BB962C8B-B14F-4D97-AF65-F5344CB8AC3E}">
        <p14:creationId xmlns:p14="http://schemas.microsoft.com/office/powerpoint/2010/main" val="31117013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190601" y="-221990"/>
            <a:ext cx="12815205" cy="7943206"/>
            <a:chOff x="-187745" y="-217657"/>
            <a:chExt cx="12565067" cy="7788164"/>
          </a:xfrm>
        </p:grpSpPr>
        <p:grpSp>
          <p:nvGrpSpPr>
            <p:cNvPr id="65" name="Group 64"/>
            <p:cNvGrpSpPr/>
            <p:nvPr/>
          </p:nvGrpSpPr>
          <p:grpSpPr>
            <a:xfrm>
              <a:off x="-187745" y="-217657"/>
              <a:ext cx="12565067" cy="7788164"/>
              <a:chOff x="-187745" y="-217657"/>
              <a:chExt cx="12565067" cy="7788164"/>
            </a:xfrm>
          </p:grpSpPr>
          <p:sp>
            <p:nvSpPr>
              <p:cNvPr id="66" name="Rounded Rectangle 65"/>
              <p:cNvSpPr/>
              <p:nvPr/>
            </p:nvSpPr>
            <p:spPr>
              <a:xfrm>
                <a:off x="-187745" y="6908696"/>
                <a:ext cx="12565067" cy="661811"/>
              </a:xfrm>
              <a:prstGeom prst="roundRect">
                <a:avLst>
                  <a:gd name="adj" fmla="val 12372"/>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rgbClr val="FFFFFF"/>
                  </a:solidFill>
                </a:endParaRPr>
              </a:p>
            </p:txBody>
          </p:sp>
          <p:pic>
            <p:nvPicPr>
              <p:cNvPr id="67" name="Picture 66"/>
              <p:cNvPicPr>
                <a:picLocks noChangeAspect="1"/>
              </p:cNvPicPr>
              <p:nvPr/>
            </p:nvPicPr>
            <p:blipFill rotWithShape="1">
              <a:blip r:embed="rId3" cstate="print">
                <a:extLst>
                  <a:ext uri="{28A0092B-C50C-407E-A947-70E740481C1C}">
                    <a14:useLocalDpi xmlns:a14="http://schemas.microsoft.com/office/drawing/2010/main" val="0"/>
                  </a:ext>
                </a:extLst>
              </a:blip>
              <a:srcRect l="15890" t="13026" r="15630" b="12506"/>
              <a:stretch/>
            </p:blipFill>
            <p:spPr>
              <a:xfrm>
                <a:off x="5991714" y="6982364"/>
                <a:ext cx="419714" cy="456419"/>
              </a:xfrm>
              <a:prstGeom prst="rect">
                <a:avLst/>
              </a:prstGeom>
            </p:spPr>
          </p:pic>
          <p:sp>
            <p:nvSpPr>
              <p:cNvPr id="68" name="Rounded Rectangle 67"/>
              <p:cNvSpPr/>
              <p:nvPr/>
            </p:nvSpPr>
            <p:spPr>
              <a:xfrm>
                <a:off x="-187744" y="-217657"/>
                <a:ext cx="12565066" cy="178973"/>
              </a:xfrm>
              <a:prstGeom prst="roundRect">
                <a:avLst>
                  <a:gd name="adj" fmla="val 50000"/>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rgbClr val="FFFFFF"/>
                  </a:solidFill>
                </a:endParaRPr>
              </a:p>
            </p:txBody>
          </p:sp>
          <p:sp>
            <p:nvSpPr>
              <p:cNvPr id="69" name="Rounded Rectangle 68"/>
              <p:cNvSpPr/>
              <p:nvPr/>
            </p:nvSpPr>
            <p:spPr>
              <a:xfrm>
                <a:off x="-187744" y="-155574"/>
                <a:ext cx="149644" cy="7431138"/>
              </a:xfrm>
              <a:prstGeom prst="roundRect">
                <a:avLst>
                  <a:gd name="adj" fmla="val 37018"/>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rgbClr val="FFFFFF"/>
                  </a:solidFill>
                </a:endParaRPr>
              </a:p>
            </p:txBody>
          </p:sp>
          <p:sp>
            <p:nvSpPr>
              <p:cNvPr id="70" name="Rounded Rectangle 69"/>
              <p:cNvSpPr/>
              <p:nvPr/>
            </p:nvSpPr>
            <p:spPr>
              <a:xfrm>
                <a:off x="12227678" y="-155574"/>
                <a:ext cx="149644" cy="7431138"/>
              </a:xfrm>
              <a:prstGeom prst="roundRect">
                <a:avLst>
                  <a:gd name="adj" fmla="val 37018"/>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rgbClr val="FFFFFF"/>
                  </a:solidFill>
                </a:endParaRPr>
              </a:p>
            </p:txBody>
          </p:sp>
        </p:grpSp>
        <p:sp>
          <p:nvSpPr>
            <p:cNvPr id="72" name="Rectangle 71"/>
            <p:cNvSpPr/>
            <p:nvPr/>
          </p:nvSpPr>
          <p:spPr>
            <a:xfrm>
              <a:off x="-38100" y="-38683"/>
              <a:ext cx="12265778" cy="6947380"/>
            </a:xfrm>
            <a:prstGeom prst="rect">
              <a:avLst/>
            </a:prstGeom>
            <a:solidFill>
              <a:srgbClr val="005A9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rgbClr val="FFFFFF"/>
                </a:solidFill>
              </a:endParaRPr>
            </a:p>
          </p:txBody>
        </p:sp>
        <p:sp>
          <p:nvSpPr>
            <p:cNvPr id="73" name="TextBox 72"/>
            <p:cNvSpPr txBox="1"/>
            <p:nvPr/>
          </p:nvSpPr>
          <p:spPr>
            <a:xfrm>
              <a:off x="2092926" y="1289868"/>
              <a:ext cx="5584432" cy="327550"/>
            </a:xfrm>
            <a:prstGeom prst="rect">
              <a:avLst/>
            </a:prstGeom>
            <a:noFill/>
          </p:spPr>
          <p:txBody>
            <a:bodyPr wrap="square" lIns="0" tIns="0" rIns="0" bIns="0" rtlCol="0" anchor="b" anchorCtr="0">
              <a:noAutofit/>
            </a:bodyPr>
            <a:lstStyle>
              <a:defPPr>
                <a:defRPr lang="en-US"/>
              </a:defPPr>
              <a:lvl1pPr>
                <a:defRPr sz="2000">
                  <a:solidFill>
                    <a:srgbClr val="2672EC"/>
                  </a:solidFill>
                  <a:latin typeface="Segoe UI Light" panose="020B0502040204020203" pitchFamily="34" charset="0"/>
                  <a:cs typeface="Segoe UI Light" panose="020B0502040204020203" pitchFamily="34" charset="0"/>
                </a:defRPr>
              </a:lvl1pPr>
            </a:lstStyle>
            <a:p>
              <a:pPr defTabSz="466298"/>
              <a:r>
                <a:rPr lang="en-US" sz="2448" dirty="0">
                  <a:solidFill>
                    <a:srgbClr val="FFFFFF"/>
                  </a:solidFill>
                </a:rPr>
                <a:t>Select a verification option</a:t>
              </a:r>
            </a:p>
          </p:txBody>
        </p:sp>
        <p:sp>
          <p:nvSpPr>
            <p:cNvPr id="74" name="Rectangle 1"/>
            <p:cNvSpPr/>
            <p:nvPr/>
          </p:nvSpPr>
          <p:spPr>
            <a:xfrm>
              <a:off x="9030818" y="5792855"/>
              <a:ext cx="1065682" cy="269062"/>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9891" tIns="27978" rIns="139891" bIns="27978" rtlCol="0" anchor="ctr" anchorCtr="0">
              <a:noAutofit/>
            </a:bodyPr>
            <a:lstStyle/>
            <a:p>
              <a:pPr algn="ctr"/>
              <a:r>
                <a:rPr lang="en-US" sz="1020" dirty="0">
                  <a:solidFill>
                    <a:prstClr val="white"/>
                  </a:solidFill>
                  <a:cs typeface="Segoe UI" panose="020B0502040204020203" pitchFamily="34" charset="0"/>
                </a:rPr>
                <a:t>Next</a:t>
              </a:r>
            </a:p>
          </p:txBody>
        </p:sp>
        <p:sp>
          <p:nvSpPr>
            <p:cNvPr id="75" name="Rectangle 2"/>
            <p:cNvSpPr/>
            <p:nvPr/>
          </p:nvSpPr>
          <p:spPr>
            <a:xfrm>
              <a:off x="7852833" y="5792855"/>
              <a:ext cx="1060329" cy="269062"/>
            </a:xfrm>
            <a:prstGeom prst="rect">
              <a:avLst/>
            </a:prstGeom>
            <a:solidFill>
              <a:srgbClr val="3078A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9891" tIns="27978" rIns="139891" bIns="27978" rtlCol="0" anchor="ctr" anchorCtr="0">
              <a:noAutofit/>
            </a:bodyPr>
            <a:lstStyle/>
            <a:p>
              <a:pPr algn="ctr" defTabSz="466298"/>
              <a:r>
                <a:rPr lang="en-US" sz="1020" dirty="0">
                  <a:solidFill>
                    <a:prstClr val="white"/>
                  </a:solidFill>
                  <a:cs typeface="Segoe UI" panose="020B0502040204020203" pitchFamily="34" charset="0"/>
                </a:rPr>
                <a:t>Back</a:t>
              </a:r>
            </a:p>
          </p:txBody>
        </p:sp>
        <p:sp>
          <p:nvSpPr>
            <p:cNvPr id="21" name="Rectangle 20"/>
            <p:cNvSpPr/>
            <p:nvPr/>
          </p:nvSpPr>
          <p:spPr>
            <a:xfrm>
              <a:off x="2637968" y="2169217"/>
              <a:ext cx="3967242" cy="2603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tlCol="0" anchor="ctr"/>
            <a:lstStyle/>
            <a:p>
              <a:pPr>
                <a:lnSpc>
                  <a:spcPts val="1530"/>
                </a:lnSpc>
              </a:pPr>
              <a:r>
                <a:rPr lang="en-US" sz="1122" dirty="0">
                  <a:solidFill>
                    <a:srgbClr val="FFFFFF"/>
                  </a:solidFill>
                  <a:latin typeface="Segoe UI Semibold" panose="020B0702040204020203" pitchFamily="34" charset="0"/>
                  <a:cs typeface="Segoe UI Semibold" panose="020B0702040204020203" pitchFamily="34" charset="0"/>
                </a:rPr>
                <a:t>Send a text message to my phone number ending in 77</a:t>
              </a:r>
            </a:p>
          </p:txBody>
        </p:sp>
        <p:sp>
          <p:nvSpPr>
            <p:cNvPr id="52" name="Rectangle 51"/>
            <p:cNvSpPr/>
            <p:nvPr/>
          </p:nvSpPr>
          <p:spPr>
            <a:xfrm>
              <a:off x="2637968" y="3023019"/>
              <a:ext cx="4504993" cy="2603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tlCol="0" anchor="ctr"/>
            <a:lstStyle/>
            <a:p>
              <a:pPr>
                <a:lnSpc>
                  <a:spcPts val="1530"/>
                </a:lnSpc>
              </a:pPr>
              <a:r>
                <a:rPr lang="en-US" sz="1122" dirty="0">
                  <a:solidFill>
                    <a:srgbClr val="FFFFFF"/>
                  </a:solidFill>
                  <a:latin typeface="Segoe UI Semibold" panose="020B0702040204020203" pitchFamily="34" charset="0"/>
                  <a:cs typeface="Segoe UI Semibold" panose="020B0702040204020203" pitchFamily="34" charset="0"/>
                </a:rPr>
                <a:t>Send a notification to my authenticator app</a:t>
              </a:r>
              <a:endParaRPr lang="en-US" sz="1122" dirty="0">
                <a:solidFill>
                  <a:srgbClr val="FFFFFF"/>
                </a:solidFill>
                <a:latin typeface="Segoe UI Semilight" panose="020B0402040204020203" pitchFamily="34" charset="0"/>
                <a:cs typeface="Segoe UI Semilight" panose="020B0402040204020203" pitchFamily="34" charset="0"/>
              </a:endParaRPr>
            </a:p>
          </p:txBody>
        </p:sp>
        <p:sp>
          <p:nvSpPr>
            <p:cNvPr id="53" name="Rectangle 52"/>
            <p:cNvSpPr/>
            <p:nvPr/>
          </p:nvSpPr>
          <p:spPr>
            <a:xfrm>
              <a:off x="2628443" y="3449919"/>
              <a:ext cx="4625797" cy="2603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tlCol="0" anchor="ctr"/>
            <a:lstStyle/>
            <a:p>
              <a:pPr>
                <a:lnSpc>
                  <a:spcPts val="1530"/>
                </a:lnSpc>
              </a:pPr>
              <a:r>
                <a:rPr lang="en-US" sz="1122" dirty="0">
                  <a:solidFill>
                    <a:srgbClr val="FFFFFF"/>
                  </a:solidFill>
                  <a:latin typeface="Segoe UI Semibold" panose="020B0702040204020203" pitchFamily="34" charset="0"/>
                  <a:cs typeface="Segoe UI Semibold" panose="020B0702040204020203" pitchFamily="34" charset="0"/>
                </a:rPr>
                <a:t>Use my authenticator app to get a security code</a:t>
              </a:r>
            </a:p>
          </p:txBody>
        </p:sp>
        <p:sp>
          <p:nvSpPr>
            <p:cNvPr id="54" name="Rectangle 53"/>
            <p:cNvSpPr/>
            <p:nvPr/>
          </p:nvSpPr>
          <p:spPr>
            <a:xfrm>
              <a:off x="2637968" y="2596118"/>
              <a:ext cx="3967242" cy="2603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tlCol="0" anchor="ctr"/>
            <a:lstStyle/>
            <a:p>
              <a:pPr>
                <a:lnSpc>
                  <a:spcPts val="1530"/>
                </a:lnSpc>
              </a:pPr>
              <a:r>
                <a:rPr lang="en-US" sz="1122" dirty="0">
                  <a:solidFill>
                    <a:srgbClr val="FFFFFF"/>
                  </a:solidFill>
                  <a:latin typeface="Segoe UI Semibold" panose="020B0702040204020203" pitchFamily="34" charset="0"/>
                  <a:cs typeface="Segoe UI Semibold" panose="020B0702040204020203" pitchFamily="34" charset="0"/>
                </a:rPr>
                <a:t>Call me at my phone number ending in 77</a:t>
              </a:r>
            </a:p>
          </p:txBody>
        </p:sp>
        <p:pic>
          <p:nvPicPr>
            <p:cNvPr id="78" name="Picture 77"/>
            <p:cNvPicPr>
              <a:picLocks noChangeAspect="1"/>
            </p:cNvPicPr>
            <p:nvPr/>
          </p:nvPicPr>
          <p:blipFill rotWithShape="1">
            <a:blip r:embed="rId4">
              <a:extLst>
                <a:ext uri="{28A0092B-C50C-407E-A947-70E740481C1C}">
                  <a14:useLocalDpi xmlns:a14="http://schemas.microsoft.com/office/drawing/2010/main" val="0"/>
                </a:ext>
              </a:extLst>
            </a:blip>
            <a:srcRect r="50357" b="5165"/>
            <a:stretch/>
          </p:blipFill>
          <p:spPr>
            <a:xfrm>
              <a:off x="2008519" y="5713275"/>
              <a:ext cx="480681" cy="408125"/>
            </a:xfrm>
            <a:prstGeom prst="rect">
              <a:avLst/>
            </a:prstGeom>
          </p:spPr>
        </p:pic>
        <p:sp>
          <p:nvSpPr>
            <p:cNvPr id="79" name="Rectangle 78"/>
            <p:cNvSpPr/>
            <p:nvPr/>
          </p:nvSpPr>
          <p:spPr>
            <a:xfrm>
              <a:off x="8963025" y="5713275"/>
              <a:ext cx="1485900" cy="506550"/>
            </a:xfrm>
            <a:prstGeom prst="rect">
              <a:avLst/>
            </a:prstGeom>
            <a:solidFill>
              <a:srgbClr val="005A9E">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rgbClr val="FFFFFF"/>
                </a:solidFill>
              </a:endParaRPr>
            </a:p>
          </p:txBody>
        </p:sp>
        <p:pic>
          <p:nvPicPr>
            <p:cNvPr id="81" name="Picture 80" descr="\\windesign\Shared\zachshal\Assets\Hands\Hand.png"/>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012194" y="2299372"/>
              <a:ext cx="1781633" cy="4095369"/>
            </a:xfrm>
            <a:prstGeom prst="rect">
              <a:avLst/>
            </a:prstGeom>
            <a:noFill/>
            <a:extLst/>
          </p:spPr>
        </p:pic>
        <p:grpSp>
          <p:nvGrpSpPr>
            <p:cNvPr id="2" name="Group 1"/>
            <p:cNvGrpSpPr/>
            <p:nvPr/>
          </p:nvGrpSpPr>
          <p:grpSpPr>
            <a:xfrm>
              <a:off x="2206731" y="2112221"/>
              <a:ext cx="301752" cy="312073"/>
              <a:chOff x="2206731" y="2112221"/>
              <a:chExt cx="301752" cy="312073"/>
            </a:xfrm>
          </p:grpSpPr>
          <p:sp>
            <p:nvSpPr>
              <p:cNvPr id="25" name="Rectangle 24"/>
              <p:cNvSpPr/>
              <p:nvPr/>
            </p:nvSpPr>
            <p:spPr>
              <a:xfrm>
                <a:off x="2206731" y="2121583"/>
                <a:ext cx="301752" cy="301752"/>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rgbClr val="FFFFFF"/>
                  </a:solidFill>
                </a:endParaRPr>
              </a:p>
            </p:txBody>
          </p:sp>
          <p:sp>
            <p:nvSpPr>
              <p:cNvPr id="83" name="TextBox 82"/>
              <p:cNvSpPr txBox="1"/>
              <p:nvPr/>
            </p:nvSpPr>
            <p:spPr>
              <a:xfrm>
                <a:off x="2209976" y="2112221"/>
                <a:ext cx="295262" cy="312073"/>
              </a:xfrm>
              <a:prstGeom prst="rect">
                <a:avLst/>
              </a:prstGeom>
              <a:noFill/>
            </p:spPr>
            <p:txBody>
              <a:bodyPr wrap="square" rtlCol="0">
                <a:spAutoFit/>
              </a:bodyPr>
              <a:lstStyle/>
              <a:p>
                <a:pPr algn="ctr"/>
                <a:r>
                  <a:rPr lang="en-US" sz="1428" dirty="0">
                    <a:solidFill>
                      <a:srgbClr val="FFFFFF"/>
                    </a:solidFill>
                    <a:latin typeface="Segoe MDL2 Assets" panose="050A0102010101010101" pitchFamily="18" charset="0"/>
                  </a:rPr>
                  <a:t></a:t>
                </a:r>
              </a:p>
            </p:txBody>
          </p:sp>
        </p:grpSp>
        <p:grpSp>
          <p:nvGrpSpPr>
            <p:cNvPr id="84" name="Group 83"/>
            <p:cNvGrpSpPr/>
            <p:nvPr/>
          </p:nvGrpSpPr>
          <p:grpSpPr>
            <a:xfrm>
              <a:off x="2206731" y="2524971"/>
              <a:ext cx="301752" cy="317464"/>
              <a:chOff x="2206731" y="2105871"/>
              <a:chExt cx="301752" cy="317464"/>
            </a:xfrm>
          </p:grpSpPr>
          <p:sp>
            <p:nvSpPr>
              <p:cNvPr id="85" name="Rectangle 84"/>
              <p:cNvSpPr/>
              <p:nvPr/>
            </p:nvSpPr>
            <p:spPr>
              <a:xfrm>
                <a:off x="2206731" y="2121583"/>
                <a:ext cx="301752" cy="301752"/>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rgbClr val="FFFFFF"/>
                  </a:solidFill>
                </a:endParaRPr>
              </a:p>
            </p:txBody>
          </p:sp>
          <p:sp>
            <p:nvSpPr>
              <p:cNvPr id="86" name="TextBox 85"/>
              <p:cNvSpPr txBox="1"/>
              <p:nvPr/>
            </p:nvSpPr>
            <p:spPr>
              <a:xfrm>
                <a:off x="2209976" y="2105871"/>
                <a:ext cx="295262" cy="312073"/>
              </a:xfrm>
              <a:prstGeom prst="rect">
                <a:avLst/>
              </a:prstGeom>
              <a:noFill/>
            </p:spPr>
            <p:txBody>
              <a:bodyPr wrap="square" rtlCol="0">
                <a:spAutoFit/>
              </a:bodyPr>
              <a:lstStyle/>
              <a:p>
                <a:pPr algn="ctr"/>
                <a:r>
                  <a:rPr lang="en-US" sz="1428" dirty="0">
                    <a:solidFill>
                      <a:srgbClr val="FFFFFF"/>
                    </a:solidFill>
                    <a:latin typeface="Segoe MDL2 Assets" panose="050A0102010101010101" pitchFamily="18" charset="0"/>
                  </a:rPr>
                  <a:t></a:t>
                </a:r>
              </a:p>
            </p:txBody>
          </p:sp>
        </p:grpSp>
        <p:grpSp>
          <p:nvGrpSpPr>
            <p:cNvPr id="87" name="Group 86"/>
            <p:cNvGrpSpPr/>
            <p:nvPr/>
          </p:nvGrpSpPr>
          <p:grpSpPr>
            <a:xfrm>
              <a:off x="2206731" y="2944071"/>
              <a:ext cx="301752" cy="323814"/>
              <a:chOff x="2206731" y="2099521"/>
              <a:chExt cx="301752" cy="323814"/>
            </a:xfrm>
          </p:grpSpPr>
          <p:sp>
            <p:nvSpPr>
              <p:cNvPr id="88" name="Rectangle 87"/>
              <p:cNvSpPr/>
              <p:nvPr/>
            </p:nvSpPr>
            <p:spPr>
              <a:xfrm>
                <a:off x="2206731" y="2121583"/>
                <a:ext cx="301752" cy="301752"/>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rgbClr val="FFFFFF"/>
                  </a:solidFill>
                </a:endParaRPr>
              </a:p>
            </p:txBody>
          </p:sp>
          <p:sp>
            <p:nvSpPr>
              <p:cNvPr id="89" name="TextBox 88"/>
              <p:cNvSpPr txBox="1"/>
              <p:nvPr/>
            </p:nvSpPr>
            <p:spPr>
              <a:xfrm>
                <a:off x="2209976" y="2099521"/>
                <a:ext cx="295262" cy="312073"/>
              </a:xfrm>
              <a:prstGeom prst="rect">
                <a:avLst/>
              </a:prstGeom>
              <a:noFill/>
            </p:spPr>
            <p:txBody>
              <a:bodyPr wrap="square" rtlCol="0">
                <a:spAutoFit/>
              </a:bodyPr>
              <a:lstStyle/>
              <a:p>
                <a:pPr algn="ctr"/>
                <a:r>
                  <a:rPr lang="en-US" sz="1428" dirty="0">
                    <a:solidFill>
                      <a:srgbClr val="FFFFFF"/>
                    </a:solidFill>
                    <a:latin typeface="Segoe MDL2 Assets" panose="050A0102010101010101" pitchFamily="18" charset="0"/>
                  </a:rPr>
                  <a:t></a:t>
                </a:r>
              </a:p>
            </p:txBody>
          </p:sp>
        </p:grpSp>
        <p:grpSp>
          <p:nvGrpSpPr>
            <p:cNvPr id="90" name="Group 89"/>
            <p:cNvGrpSpPr/>
            <p:nvPr/>
          </p:nvGrpSpPr>
          <p:grpSpPr>
            <a:xfrm>
              <a:off x="2206731" y="3369521"/>
              <a:ext cx="301752" cy="323814"/>
              <a:chOff x="2206731" y="2099521"/>
              <a:chExt cx="301752" cy="323814"/>
            </a:xfrm>
          </p:grpSpPr>
          <p:sp>
            <p:nvSpPr>
              <p:cNvPr id="91" name="Rectangle 90"/>
              <p:cNvSpPr/>
              <p:nvPr/>
            </p:nvSpPr>
            <p:spPr>
              <a:xfrm>
                <a:off x="2206731" y="2121583"/>
                <a:ext cx="301752" cy="301752"/>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rgbClr val="FFFFFF"/>
                  </a:solidFill>
                </a:endParaRPr>
              </a:p>
            </p:txBody>
          </p:sp>
          <p:sp>
            <p:nvSpPr>
              <p:cNvPr id="92" name="TextBox 91"/>
              <p:cNvSpPr txBox="1"/>
              <p:nvPr/>
            </p:nvSpPr>
            <p:spPr>
              <a:xfrm>
                <a:off x="2209976" y="2099521"/>
                <a:ext cx="295262" cy="312073"/>
              </a:xfrm>
              <a:prstGeom prst="rect">
                <a:avLst/>
              </a:prstGeom>
              <a:noFill/>
            </p:spPr>
            <p:txBody>
              <a:bodyPr wrap="square" rtlCol="0">
                <a:spAutoFit/>
              </a:bodyPr>
              <a:lstStyle/>
              <a:p>
                <a:pPr algn="ctr"/>
                <a:r>
                  <a:rPr lang="en-US" sz="1428" dirty="0">
                    <a:solidFill>
                      <a:srgbClr val="FFFFFF"/>
                    </a:solidFill>
                    <a:latin typeface="Segoe MDL2 Assets" panose="050A0102010101010101" pitchFamily="18" charset="0"/>
                  </a:rPr>
                  <a:t></a:t>
                </a:r>
              </a:p>
            </p:txBody>
          </p:sp>
        </p:grpSp>
      </p:grpSp>
      <p:sp>
        <p:nvSpPr>
          <p:cNvPr id="34" name="TextBox 33"/>
          <p:cNvSpPr txBox="1"/>
          <p:nvPr/>
        </p:nvSpPr>
        <p:spPr>
          <a:xfrm>
            <a:off x="2265375" y="2160785"/>
            <a:ext cx="295262" cy="307777"/>
          </a:xfrm>
          <a:prstGeom prst="rect">
            <a:avLst/>
          </a:prstGeom>
          <a:noFill/>
        </p:spPr>
        <p:txBody>
          <a:bodyPr wrap="square" rtlCol="0">
            <a:spAutoFit/>
          </a:bodyPr>
          <a:lstStyle/>
          <a:p>
            <a:pPr algn="ctr"/>
            <a:r>
              <a:rPr lang="en-US" sz="1400" dirty="0" smtClean="0">
                <a:solidFill>
                  <a:srgbClr val="505050"/>
                </a:solidFill>
                <a:latin typeface="Segoe MDL2 Assets" panose="050A0102010101010101" pitchFamily="18" charset="0"/>
              </a:rPr>
              <a:t></a:t>
            </a:r>
            <a:endParaRPr lang="en-US" sz="1400" dirty="0">
              <a:solidFill>
                <a:srgbClr val="505050"/>
              </a:solidFill>
              <a:latin typeface="Segoe MDL2 Assets" panose="050A0102010101010101" pitchFamily="18" charset="0"/>
            </a:endParaRPr>
          </a:p>
        </p:txBody>
      </p:sp>
      <p:sp>
        <p:nvSpPr>
          <p:cNvPr id="35" name="TextBox 34"/>
          <p:cNvSpPr txBox="1"/>
          <p:nvPr/>
        </p:nvSpPr>
        <p:spPr>
          <a:xfrm>
            <a:off x="2265375" y="2573535"/>
            <a:ext cx="295262" cy="307777"/>
          </a:xfrm>
          <a:prstGeom prst="rect">
            <a:avLst/>
          </a:prstGeom>
          <a:noFill/>
        </p:spPr>
        <p:txBody>
          <a:bodyPr wrap="square" rtlCol="0">
            <a:spAutoFit/>
          </a:bodyPr>
          <a:lstStyle/>
          <a:p>
            <a:pPr algn="ctr"/>
            <a:r>
              <a:rPr lang="en-US" sz="1400" dirty="0">
                <a:solidFill>
                  <a:srgbClr val="505050"/>
                </a:solidFill>
                <a:latin typeface="Segoe MDL2 Assets" panose="050A0102010101010101" pitchFamily="18" charset="0"/>
              </a:rPr>
              <a:t></a:t>
            </a:r>
          </a:p>
        </p:txBody>
      </p:sp>
      <p:sp>
        <p:nvSpPr>
          <p:cNvPr id="36" name="TextBox 35"/>
          <p:cNvSpPr txBox="1"/>
          <p:nvPr/>
        </p:nvSpPr>
        <p:spPr>
          <a:xfrm>
            <a:off x="2265375" y="2992635"/>
            <a:ext cx="295262" cy="307777"/>
          </a:xfrm>
          <a:prstGeom prst="rect">
            <a:avLst/>
          </a:prstGeom>
          <a:noFill/>
        </p:spPr>
        <p:txBody>
          <a:bodyPr wrap="square" rtlCol="0">
            <a:spAutoFit/>
          </a:bodyPr>
          <a:lstStyle/>
          <a:p>
            <a:pPr algn="ctr"/>
            <a:r>
              <a:rPr lang="en-US" sz="1400" dirty="0">
                <a:solidFill>
                  <a:srgbClr val="505050"/>
                </a:solidFill>
                <a:latin typeface="Segoe MDL2 Assets" panose="050A0102010101010101" pitchFamily="18" charset="0"/>
              </a:rPr>
              <a:t></a:t>
            </a:r>
          </a:p>
        </p:txBody>
      </p:sp>
      <p:sp>
        <p:nvSpPr>
          <p:cNvPr id="37" name="TextBox 36"/>
          <p:cNvSpPr txBox="1"/>
          <p:nvPr/>
        </p:nvSpPr>
        <p:spPr>
          <a:xfrm>
            <a:off x="2265375" y="3418085"/>
            <a:ext cx="295262" cy="307777"/>
          </a:xfrm>
          <a:prstGeom prst="rect">
            <a:avLst/>
          </a:prstGeom>
          <a:noFill/>
        </p:spPr>
        <p:txBody>
          <a:bodyPr wrap="square" rtlCol="0">
            <a:spAutoFit/>
          </a:bodyPr>
          <a:lstStyle/>
          <a:p>
            <a:pPr algn="ctr"/>
            <a:r>
              <a:rPr lang="en-US" sz="1400" dirty="0">
                <a:solidFill>
                  <a:srgbClr val="505050"/>
                </a:solidFill>
                <a:latin typeface="Segoe MDL2 Assets" panose="050A0102010101010101" pitchFamily="18" charset="0"/>
              </a:rPr>
              <a:t></a:t>
            </a:r>
          </a:p>
        </p:txBody>
      </p:sp>
    </p:spTree>
    <p:extLst>
      <p:ext uri="{BB962C8B-B14F-4D97-AF65-F5344CB8AC3E}">
        <p14:creationId xmlns:p14="http://schemas.microsoft.com/office/powerpoint/2010/main" val="405429245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190601" y="-221990"/>
            <a:ext cx="12815205" cy="7943206"/>
            <a:chOff x="-187745" y="-217657"/>
            <a:chExt cx="12565067" cy="7788164"/>
          </a:xfrm>
        </p:grpSpPr>
        <p:grpSp>
          <p:nvGrpSpPr>
            <p:cNvPr id="65" name="Group 64"/>
            <p:cNvGrpSpPr/>
            <p:nvPr/>
          </p:nvGrpSpPr>
          <p:grpSpPr>
            <a:xfrm>
              <a:off x="-187745" y="-217657"/>
              <a:ext cx="12565067" cy="7788164"/>
              <a:chOff x="-187745" y="-217657"/>
              <a:chExt cx="12565067" cy="7788164"/>
            </a:xfrm>
          </p:grpSpPr>
          <p:sp>
            <p:nvSpPr>
              <p:cNvPr id="66" name="Rounded Rectangle 65"/>
              <p:cNvSpPr/>
              <p:nvPr/>
            </p:nvSpPr>
            <p:spPr>
              <a:xfrm>
                <a:off x="-187745" y="6908696"/>
                <a:ext cx="12565067" cy="661811"/>
              </a:xfrm>
              <a:prstGeom prst="roundRect">
                <a:avLst>
                  <a:gd name="adj" fmla="val 12372"/>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rgbClr val="FFFFFF"/>
                  </a:solidFill>
                </a:endParaRPr>
              </a:p>
            </p:txBody>
          </p:sp>
          <p:pic>
            <p:nvPicPr>
              <p:cNvPr id="67" name="Picture 66"/>
              <p:cNvPicPr>
                <a:picLocks noChangeAspect="1"/>
              </p:cNvPicPr>
              <p:nvPr/>
            </p:nvPicPr>
            <p:blipFill rotWithShape="1">
              <a:blip r:embed="rId3" cstate="print">
                <a:extLst>
                  <a:ext uri="{28A0092B-C50C-407E-A947-70E740481C1C}">
                    <a14:useLocalDpi xmlns:a14="http://schemas.microsoft.com/office/drawing/2010/main" val="0"/>
                  </a:ext>
                </a:extLst>
              </a:blip>
              <a:srcRect l="15890" t="13026" r="15630" b="12506"/>
              <a:stretch/>
            </p:blipFill>
            <p:spPr>
              <a:xfrm>
                <a:off x="5991714" y="6982364"/>
                <a:ext cx="419714" cy="456419"/>
              </a:xfrm>
              <a:prstGeom prst="rect">
                <a:avLst/>
              </a:prstGeom>
            </p:spPr>
          </p:pic>
          <p:sp>
            <p:nvSpPr>
              <p:cNvPr id="68" name="Rounded Rectangle 67"/>
              <p:cNvSpPr/>
              <p:nvPr/>
            </p:nvSpPr>
            <p:spPr>
              <a:xfrm>
                <a:off x="-187744" y="-217657"/>
                <a:ext cx="12565066" cy="178973"/>
              </a:xfrm>
              <a:prstGeom prst="roundRect">
                <a:avLst>
                  <a:gd name="adj" fmla="val 50000"/>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rgbClr val="FFFFFF"/>
                  </a:solidFill>
                </a:endParaRPr>
              </a:p>
            </p:txBody>
          </p:sp>
          <p:sp>
            <p:nvSpPr>
              <p:cNvPr id="69" name="Rounded Rectangle 68"/>
              <p:cNvSpPr/>
              <p:nvPr/>
            </p:nvSpPr>
            <p:spPr>
              <a:xfrm>
                <a:off x="-187744" y="-155574"/>
                <a:ext cx="149644" cy="7431138"/>
              </a:xfrm>
              <a:prstGeom prst="roundRect">
                <a:avLst>
                  <a:gd name="adj" fmla="val 37018"/>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rgbClr val="FFFFFF"/>
                  </a:solidFill>
                </a:endParaRPr>
              </a:p>
            </p:txBody>
          </p:sp>
          <p:sp>
            <p:nvSpPr>
              <p:cNvPr id="70" name="Rounded Rectangle 69"/>
              <p:cNvSpPr/>
              <p:nvPr/>
            </p:nvSpPr>
            <p:spPr>
              <a:xfrm>
                <a:off x="12227678" y="-155574"/>
                <a:ext cx="149644" cy="7431138"/>
              </a:xfrm>
              <a:prstGeom prst="roundRect">
                <a:avLst>
                  <a:gd name="adj" fmla="val 37018"/>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rgbClr val="FFFFFF"/>
                  </a:solidFill>
                </a:endParaRPr>
              </a:p>
            </p:txBody>
          </p:sp>
        </p:grpSp>
        <p:sp>
          <p:nvSpPr>
            <p:cNvPr id="72" name="Rectangle 71"/>
            <p:cNvSpPr/>
            <p:nvPr/>
          </p:nvSpPr>
          <p:spPr>
            <a:xfrm>
              <a:off x="-38100" y="-38683"/>
              <a:ext cx="12265778" cy="6947380"/>
            </a:xfrm>
            <a:prstGeom prst="rect">
              <a:avLst/>
            </a:prstGeom>
            <a:solidFill>
              <a:srgbClr val="005A9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rgbClr val="FFFFFF"/>
                </a:solidFill>
              </a:endParaRPr>
            </a:p>
          </p:txBody>
        </p:sp>
        <p:sp>
          <p:nvSpPr>
            <p:cNvPr id="73" name="TextBox 72"/>
            <p:cNvSpPr txBox="1"/>
            <p:nvPr/>
          </p:nvSpPr>
          <p:spPr>
            <a:xfrm>
              <a:off x="2092926" y="1289868"/>
              <a:ext cx="5584432" cy="327550"/>
            </a:xfrm>
            <a:prstGeom prst="rect">
              <a:avLst/>
            </a:prstGeom>
            <a:noFill/>
          </p:spPr>
          <p:txBody>
            <a:bodyPr wrap="square" lIns="0" tIns="0" rIns="0" bIns="0" rtlCol="0" anchor="b" anchorCtr="0">
              <a:noAutofit/>
            </a:bodyPr>
            <a:lstStyle>
              <a:defPPr>
                <a:defRPr lang="en-US"/>
              </a:defPPr>
              <a:lvl1pPr>
                <a:defRPr sz="2000">
                  <a:solidFill>
                    <a:srgbClr val="2672EC"/>
                  </a:solidFill>
                  <a:latin typeface="Segoe UI Light" panose="020B0502040204020203" pitchFamily="34" charset="0"/>
                  <a:cs typeface="Segoe UI Light" panose="020B0502040204020203" pitchFamily="34" charset="0"/>
                </a:defRPr>
              </a:lvl1pPr>
            </a:lstStyle>
            <a:p>
              <a:pPr defTabSz="466298"/>
              <a:r>
                <a:rPr lang="en-US" sz="2448" dirty="0">
                  <a:solidFill>
                    <a:srgbClr val="FFFFFF"/>
                  </a:solidFill>
                </a:rPr>
                <a:t>Select a verification option</a:t>
              </a:r>
            </a:p>
          </p:txBody>
        </p:sp>
        <p:sp>
          <p:nvSpPr>
            <p:cNvPr id="74" name="Rectangle 1"/>
            <p:cNvSpPr/>
            <p:nvPr/>
          </p:nvSpPr>
          <p:spPr>
            <a:xfrm>
              <a:off x="9030818" y="5792855"/>
              <a:ext cx="1065682" cy="269062"/>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9891" tIns="27978" rIns="139891" bIns="27978" rtlCol="0" anchor="ctr" anchorCtr="0">
              <a:noAutofit/>
            </a:bodyPr>
            <a:lstStyle/>
            <a:p>
              <a:pPr algn="ctr"/>
              <a:r>
                <a:rPr lang="en-US" sz="1020" dirty="0">
                  <a:solidFill>
                    <a:prstClr val="white"/>
                  </a:solidFill>
                  <a:cs typeface="Segoe UI" panose="020B0502040204020203" pitchFamily="34" charset="0"/>
                </a:rPr>
                <a:t>Next</a:t>
              </a:r>
            </a:p>
          </p:txBody>
        </p:sp>
        <p:sp>
          <p:nvSpPr>
            <p:cNvPr id="75" name="Rectangle 2"/>
            <p:cNvSpPr/>
            <p:nvPr/>
          </p:nvSpPr>
          <p:spPr>
            <a:xfrm>
              <a:off x="7852833" y="5792855"/>
              <a:ext cx="1060329" cy="269062"/>
            </a:xfrm>
            <a:prstGeom prst="rect">
              <a:avLst/>
            </a:prstGeom>
            <a:solidFill>
              <a:srgbClr val="3078A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9891" tIns="27978" rIns="139891" bIns="27978" rtlCol="0" anchor="ctr" anchorCtr="0">
              <a:noAutofit/>
            </a:bodyPr>
            <a:lstStyle/>
            <a:p>
              <a:pPr algn="ctr" defTabSz="466298"/>
              <a:r>
                <a:rPr lang="en-US" sz="1020" dirty="0">
                  <a:solidFill>
                    <a:prstClr val="white"/>
                  </a:solidFill>
                  <a:cs typeface="Segoe UI" panose="020B0502040204020203" pitchFamily="34" charset="0"/>
                </a:rPr>
                <a:t>Back</a:t>
              </a:r>
            </a:p>
          </p:txBody>
        </p:sp>
        <p:sp>
          <p:nvSpPr>
            <p:cNvPr id="12" name="Rectangle 11"/>
            <p:cNvSpPr/>
            <p:nvPr/>
          </p:nvSpPr>
          <p:spPr>
            <a:xfrm>
              <a:off x="2120011" y="2062222"/>
              <a:ext cx="5934331" cy="417535"/>
            </a:xfrm>
            <a:prstGeom prst="rect">
              <a:avLst/>
            </a:prstGeom>
            <a:solidFill>
              <a:srgbClr val="7DAD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24" dirty="0">
                <a:solidFill>
                  <a:prstClr val="black"/>
                </a:solidFill>
                <a:cs typeface="Segoe UI" panose="020B0502040204020203" pitchFamily="34" charset="0"/>
              </a:endParaRPr>
            </a:p>
          </p:txBody>
        </p:sp>
        <p:pic>
          <p:nvPicPr>
            <p:cNvPr id="78" name="Picture 77"/>
            <p:cNvPicPr>
              <a:picLocks noChangeAspect="1"/>
            </p:cNvPicPr>
            <p:nvPr/>
          </p:nvPicPr>
          <p:blipFill rotWithShape="1">
            <a:blip r:embed="rId4">
              <a:extLst>
                <a:ext uri="{28A0092B-C50C-407E-A947-70E740481C1C}">
                  <a14:useLocalDpi xmlns:a14="http://schemas.microsoft.com/office/drawing/2010/main" val="0"/>
                </a:ext>
              </a:extLst>
            </a:blip>
            <a:srcRect r="50357" b="5165"/>
            <a:stretch/>
          </p:blipFill>
          <p:spPr>
            <a:xfrm>
              <a:off x="2008519" y="5713275"/>
              <a:ext cx="480681" cy="408125"/>
            </a:xfrm>
            <a:prstGeom prst="rect">
              <a:avLst/>
            </a:prstGeom>
          </p:spPr>
        </p:pic>
        <p:grpSp>
          <p:nvGrpSpPr>
            <p:cNvPr id="28" name="Group 27"/>
            <p:cNvGrpSpPr/>
            <p:nvPr/>
          </p:nvGrpSpPr>
          <p:grpSpPr>
            <a:xfrm>
              <a:off x="2206731" y="2112221"/>
              <a:ext cx="301752" cy="312073"/>
              <a:chOff x="2206731" y="2112221"/>
              <a:chExt cx="301752" cy="312073"/>
            </a:xfrm>
          </p:grpSpPr>
          <p:sp>
            <p:nvSpPr>
              <p:cNvPr id="29" name="Rectangle 28"/>
              <p:cNvSpPr/>
              <p:nvPr/>
            </p:nvSpPr>
            <p:spPr>
              <a:xfrm>
                <a:off x="2206731" y="2121583"/>
                <a:ext cx="301752" cy="301752"/>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rgbClr val="FFFFFF"/>
                  </a:solidFill>
                </a:endParaRPr>
              </a:p>
            </p:txBody>
          </p:sp>
          <p:sp>
            <p:nvSpPr>
              <p:cNvPr id="30" name="TextBox 29"/>
              <p:cNvSpPr txBox="1"/>
              <p:nvPr/>
            </p:nvSpPr>
            <p:spPr>
              <a:xfrm>
                <a:off x="2209976" y="2112221"/>
                <a:ext cx="295262" cy="312073"/>
              </a:xfrm>
              <a:prstGeom prst="rect">
                <a:avLst/>
              </a:prstGeom>
              <a:noFill/>
            </p:spPr>
            <p:txBody>
              <a:bodyPr wrap="square" rtlCol="0">
                <a:spAutoFit/>
              </a:bodyPr>
              <a:lstStyle/>
              <a:p>
                <a:pPr algn="ctr"/>
                <a:r>
                  <a:rPr lang="en-US" sz="1428" dirty="0">
                    <a:solidFill>
                      <a:srgbClr val="FFFFFF"/>
                    </a:solidFill>
                    <a:latin typeface="Segoe MDL2 Assets" panose="050A0102010101010101" pitchFamily="18" charset="0"/>
                  </a:rPr>
                  <a:t></a:t>
                </a:r>
              </a:p>
            </p:txBody>
          </p:sp>
        </p:grpSp>
        <p:grpSp>
          <p:nvGrpSpPr>
            <p:cNvPr id="31" name="Group 30"/>
            <p:cNvGrpSpPr/>
            <p:nvPr/>
          </p:nvGrpSpPr>
          <p:grpSpPr>
            <a:xfrm>
              <a:off x="2206731" y="2524971"/>
              <a:ext cx="301752" cy="317464"/>
              <a:chOff x="2206731" y="2105871"/>
              <a:chExt cx="301752" cy="317464"/>
            </a:xfrm>
          </p:grpSpPr>
          <p:sp>
            <p:nvSpPr>
              <p:cNvPr id="32" name="Rectangle 31"/>
              <p:cNvSpPr/>
              <p:nvPr/>
            </p:nvSpPr>
            <p:spPr>
              <a:xfrm>
                <a:off x="2206731" y="2121583"/>
                <a:ext cx="301752" cy="301752"/>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rgbClr val="FFFFFF"/>
                  </a:solidFill>
                </a:endParaRPr>
              </a:p>
            </p:txBody>
          </p:sp>
          <p:sp>
            <p:nvSpPr>
              <p:cNvPr id="33" name="TextBox 32"/>
              <p:cNvSpPr txBox="1"/>
              <p:nvPr/>
            </p:nvSpPr>
            <p:spPr>
              <a:xfrm>
                <a:off x="2209976" y="2105871"/>
                <a:ext cx="295262" cy="312073"/>
              </a:xfrm>
              <a:prstGeom prst="rect">
                <a:avLst/>
              </a:prstGeom>
              <a:noFill/>
            </p:spPr>
            <p:txBody>
              <a:bodyPr wrap="square" rtlCol="0">
                <a:spAutoFit/>
              </a:bodyPr>
              <a:lstStyle/>
              <a:p>
                <a:pPr algn="ctr"/>
                <a:r>
                  <a:rPr lang="en-US" sz="1428" dirty="0">
                    <a:solidFill>
                      <a:srgbClr val="FFFFFF"/>
                    </a:solidFill>
                    <a:latin typeface="Segoe MDL2 Assets" panose="050A0102010101010101" pitchFamily="18" charset="0"/>
                  </a:rPr>
                  <a:t></a:t>
                </a:r>
              </a:p>
            </p:txBody>
          </p:sp>
        </p:grpSp>
        <p:grpSp>
          <p:nvGrpSpPr>
            <p:cNvPr id="34" name="Group 33"/>
            <p:cNvGrpSpPr/>
            <p:nvPr/>
          </p:nvGrpSpPr>
          <p:grpSpPr>
            <a:xfrm>
              <a:off x="2206731" y="2944071"/>
              <a:ext cx="301752" cy="323814"/>
              <a:chOff x="2206731" y="2099521"/>
              <a:chExt cx="301752" cy="323814"/>
            </a:xfrm>
          </p:grpSpPr>
          <p:sp>
            <p:nvSpPr>
              <p:cNvPr id="35" name="Rectangle 34"/>
              <p:cNvSpPr/>
              <p:nvPr/>
            </p:nvSpPr>
            <p:spPr>
              <a:xfrm>
                <a:off x="2206731" y="2121583"/>
                <a:ext cx="301752" cy="301752"/>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rgbClr val="FFFFFF"/>
                  </a:solidFill>
                </a:endParaRPr>
              </a:p>
            </p:txBody>
          </p:sp>
          <p:sp>
            <p:nvSpPr>
              <p:cNvPr id="36" name="TextBox 35"/>
              <p:cNvSpPr txBox="1"/>
              <p:nvPr/>
            </p:nvSpPr>
            <p:spPr>
              <a:xfrm>
                <a:off x="2209976" y="2099521"/>
                <a:ext cx="295262" cy="312073"/>
              </a:xfrm>
              <a:prstGeom prst="rect">
                <a:avLst/>
              </a:prstGeom>
              <a:noFill/>
            </p:spPr>
            <p:txBody>
              <a:bodyPr wrap="square" rtlCol="0">
                <a:spAutoFit/>
              </a:bodyPr>
              <a:lstStyle/>
              <a:p>
                <a:pPr algn="ctr"/>
                <a:r>
                  <a:rPr lang="en-US" sz="1428" dirty="0">
                    <a:solidFill>
                      <a:srgbClr val="FFFFFF"/>
                    </a:solidFill>
                    <a:latin typeface="Segoe MDL2 Assets" panose="050A0102010101010101" pitchFamily="18" charset="0"/>
                  </a:rPr>
                  <a:t></a:t>
                </a:r>
              </a:p>
            </p:txBody>
          </p:sp>
        </p:grpSp>
        <p:grpSp>
          <p:nvGrpSpPr>
            <p:cNvPr id="37" name="Group 36"/>
            <p:cNvGrpSpPr/>
            <p:nvPr/>
          </p:nvGrpSpPr>
          <p:grpSpPr>
            <a:xfrm>
              <a:off x="2206731" y="3369521"/>
              <a:ext cx="301752" cy="323814"/>
              <a:chOff x="2206731" y="2099521"/>
              <a:chExt cx="301752" cy="323814"/>
            </a:xfrm>
          </p:grpSpPr>
          <p:sp>
            <p:nvSpPr>
              <p:cNvPr id="38" name="Rectangle 37"/>
              <p:cNvSpPr/>
              <p:nvPr/>
            </p:nvSpPr>
            <p:spPr>
              <a:xfrm>
                <a:off x="2206731" y="2121583"/>
                <a:ext cx="301752" cy="301752"/>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rgbClr val="FFFFFF"/>
                  </a:solidFill>
                </a:endParaRPr>
              </a:p>
            </p:txBody>
          </p:sp>
          <p:sp>
            <p:nvSpPr>
              <p:cNvPr id="39" name="TextBox 38"/>
              <p:cNvSpPr txBox="1"/>
              <p:nvPr/>
            </p:nvSpPr>
            <p:spPr>
              <a:xfrm>
                <a:off x="2209976" y="2099521"/>
                <a:ext cx="295262" cy="312073"/>
              </a:xfrm>
              <a:prstGeom prst="rect">
                <a:avLst/>
              </a:prstGeom>
              <a:noFill/>
            </p:spPr>
            <p:txBody>
              <a:bodyPr wrap="square" rtlCol="0">
                <a:spAutoFit/>
              </a:bodyPr>
              <a:lstStyle/>
              <a:p>
                <a:pPr algn="ctr"/>
                <a:r>
                  <a:rPr lang="en-US" sz="1428" dirty="0">
                    <a:solidFill>
                      <a:srgbClr val="FFFFFF"/>
                    </a:solidFill>
                    <a:latin typeface="Segoe MDL2 Assets" panose="050A0102010101010101" pitchFamily="18" charset="0"/>
                  </a:rPr>
                  <a:t></a:t>
                </a:r>
              </a:p>
            </p:txBody>
          </p:sp>
        </p:grpSp>
        <p:sp>
          <p:nvSpPr>
            <p:cNvPr id="44" name="Rectangle 43"/>
            <p:cNvSpPr/>
            <p:nvPr/>
          </p:nvSpPr>
          <p:spPr>
            <a:xfrm>
              <a:off x="2637968" y="2169217"/>
              <a:ext cx="3967242" cy="2603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tlCol="0" anchor="ctr"/>
            <a:lstStyle/>
            <a:p>
              <a:pPr>
                <a:lnSpc>
                  <a:spcPts val="1530"/>
                </a:lnSpc>
              </a:pPr>
              <a:r>
                <a:rPr lang="en-US" sz="1122" dirty="0">
                  <a:solidFill>
                    <a:srgbClr val="FFFFFF"/>
                  </a:solidFill>
                  <a:latin typeface="Segoe UI Semibold" panose="020B0702040204020203" pitchFamily="34" charset="0"/>
                  <a:cs typeface="Segoe UI Semibold" panose="020B0702040204020203" pitchFamily="34" charset="0"/>
                </a:rPr>
                <a:t>Send a text message to my phone number ending in 77</a:t>
              </a:r>
            </a:p>
          </p:txBody>
        </p:sp>
        <p:sp>
          <p:nvSpPr>
            <p:cNvPr id="45" name="Rectangle 44"/>
            <p:cNvSpPr/>
            <p:nvPr/>
          </p:nvSpPr>
          <p:spPr>
            <a:xfrm>
              <a:off x="2637968" y="3023019"/>
              <a:ext cx="4504993" cy="2603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tlCol="0" anchor="ctr"/>
            <a:lstStyle/>
            <a:p>
              <a:pPr>
                <a:lnSpc>
                  <a:spcPts val="1530"/>
                </a:lnSpc>
              </a:pPr>
              <a:r>
                <a:rPr lang="en-US" sz="1122" dirty="0">
                  <a:solidFill>
                    <a:srgbClr val="FFFFFF"/>
                  </a:solidFill>
                  <a:latin typeface="Segoe UI Semibold" panose="020B0702040204020203" pitchFamily="34" charset="0"/>
                  <a:cs typeface="Segoe UI Semibold" panose="020B0702040204020203" pitchFamily="34" charset="0"/>
                </a:rPr>
                <a:t>Send a notification to my authenticator app</a:t>
              </a:r>
              <a:endParaRPr lang="en-US" sz="1122" dirty="0">
                <a:solidFill>
                  <a:srgbClr val="FFFFFF"/>
                </a:solidFill>
                <a:latin typeface="Segoe UI Semilight" panose="020B0402040204020203" pitchFamily="34" charset="0"/>
                <a:cs typeface="Segoe UI Semilight" panose="020B0402040204020203" pitchFamily="34" charset="0"/>
              </a:endParaRPr>
            </a:p>
          </p:txBody>
        </p:sp>
        <p:sp>
          <p:nvSpPr>
            <p:cNvPr id="46" name="Rectangle 45"/>
            <p:cNvSpPr/>
            <p:nvPr/>
          </p:nvSpPr>
          <p:spPr>
            <a:xfrm>
              <a:off x="2628443" y="3449919"/>
              <a:ext cx="4625797" cy="2603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tlCol="0" anchor="ctr"/>
            <a:lstStyle/>
            <a:p>
              <a:pPr>
                <a:lnSpc>
                  <a:spcPts val="1530"/>
                </a:lnSpc>
              </a:pPr>
              <a:r>
                <a:rPr lang="en-US" sz="1122" dirty="0">
                  <a:solidFill>
                    <a:srgbClr val="FFFFFF"/>
                  </a:solidFill>
                  <a:latin typeface="Segoe UI Semibold" panose="020B0702040204020203" pitchFamily="34" charset="0"/>
                  <a:cs typeface="Segoe UI Semibold" panose="020B0702040204020203" pitchFamily="34" charset="0"/>
                </a:rPr>
                <a:t>Use my authenticator app to get a security code</a:t>
              </a:r>
            </a:p>
          </p:txBody>
        </p:sp>
        <p:sp>
          <p:nvSpPr>
            <p:cNvPr id="47" name="Rectangle 46"/>
            <p:cNvSpPr/>
            <p:nvPr/>
          </p:nvSpPr>
          <p:spPr>
            <a:xfrm>
              <a:off x="2637968" y="2596118"/>
              <a:ext cx="3967242" cy="2603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tlCol="0" anchor="ctr"/>
            <a:lstStyle/>
            <a:p>
              <a:pPr>
                <a:lnSpc>
                  <a:spcPts val="1530"/>
                </a:lnSpc>
              </a:pPr>
              <a:r>
                <a:rPr lang="en-US" sz="1122" dirty="0">
                  <a:solidFill>
                    <a:srgbClr val="FFFFFF"/>
                  </a:solidFill>
                  <a:latin typeface="Segoe UI Semibold" panose="020B0702040204020203" pitchFamily="34" charset="0"/>
                  <a:cs typeface="Segoe UI Semibold" panose="020B0702040204020203" pitchFamily="34" charset="0"/>
                </a:rPr>
                <a:t>Call me at my phone number ending in 77</a:t>
              </a:r>
            </a:p>
          </p:txBody>
        </p:sp>
      </p:grpSp>
      <p:sp>
        <p:nvSpPr>
          <p:cNvPr id="40" name="TextBox 39"/>
          <p:cNvSpPr txBox="1"/>
          <p:nvPr/>
        </p:nvSpPr>
        <p:spPr>
          <a:xfrm>
            <a:off x="2265375" y="2160785"/>
            <a:ext cx="295262" cy="307777"/>
          </a:xfrm>
          <a:prstGeom prst="rect">
            <a:avLst/>
          </a:prstGeom>
          <a:noFill/>
        </p:spPr>
        <p:txBody>
          <a:bodyPr wrap="square" rtlCol="0">
            <a:spAutoFit/>
          </a:bodyPr>
          <a:lstStyle/>
          <a:p>
            <a:pPr algn="ctr"/>
            <a:r>
              <a:rPr lang="en-US" sz="1400" dirty="0" smtClean="0">
                <a:solidFill>
                  <a:srgbClr val="505050"/>
                </a:solidFill>
                <a:latin typeface="Segoe MDL2 Assets" panose="050A0102010101010101" pitchFamily="18" charset="0"/>
              </a:rPr>
              <a:t></a:t>
            </a:r>
            <a:endParaRPr lang="en-US" sz="1400" dirty="0">
              <a:solidFill>
                <a:srgbClr val="505050"/>
              </a:solidFill>
              <a:latin typeface="Segoe MDL2 Assets" panose="050A0102010101010101" pitchFamily="18" charset="0"/>
            </a:endParaRPr>
          </a:p>
        </p:txBody>
      </p:sp>
      <p:sp>
        <p:nvSpPr>
          <p:cNvPr id="41" name="TextBox 40"/>
          <p:cNvSpPr txBox="1"/>
          <p:nvPr/>
        </p:nvSpPr>
        <p:spPr>
          <a:xfrm>
            <a:off x="2265375" y="2573535"/>
            <a:ext cx="295262" cy="307777"/>
          </a:xfrm>
          <a:prstGeom prst="rect">
            <a:avLst/>
          </a:prstGeom>
          <a:noFill/>
        </p:spPr>
        <p:txBody>
          <a:bodyPr wrap="square" rtlCol="0">
            <a:spAutoFit/>
          </a:bodyPr>
          <a:lstStyle/>
          <a:p>
            <a:pPr algn="ctr"/>
            <a:r>
              <a:rPr lang="en-US" sz="1400" dirty="0">
                <a:solidFill>
                  <a:srgbClr val="505050"/>
                </a:solidFill>
                <a:latin typeface="Segoe MDL2 Assets" panose="050A0102010101010101" pitchFamily="18" charset="0"/>
              </a:rPr>
              <a:t></a:t>
            </a:r>
          </a:p>
        </p:txBody>
      </p:sp>
      <p:sp>
        <p:nvSpPr>
          <p:cNvPr id="42" name="TextBox 41"/>
          <p:cNvSpPr txBox="1"/>
          <p:nvPr/>
        </p:nvSpPr>
        <p:spPr>
          <a:xfrm>
            <a:off x="2265375" y="2992635"/>
            <a:ext cx="295262" cy="307777"/>
          </a:xfrm>
          <a:prstGeom prst="rect">
            <a:avLst/>
          </a:prstGeom>
          <a:noFill/>
        </p:spPr>
        <p:txBody>
          <a:bodyPr wrap="square" rtlCol="0">
            <a:spAutoFit/>
          </a:bodyPr>
          <a:lstStyle/>
          <a:p>
            <a:pPr algn="ctr"/>
            <a:r>
              <a:rPr lang="en-US" sz="1400" dirty="0">
                <a:solidFill>
                  <a:srgbClr val="505050"/>
                </a:solidFill>
                <a:latin typeface="Segoe MDL2 Assets" panose="050A0102010101010101" pitchFamily="18" charset="0"/>
              </a:rPr>
              <a:t></a:t>
            </a:r>
          </a:p>
        </p:txBody>
      </p:sp>
      <p:sp>
        <p:nvSpPr>
          <p:cNvPr id="43" name="TextBox 42"/>
          <p:cNvSpPr txBox="1"/>
          <p:nvPr/>
        </p:nvSpPr>
        <p:spPr>
          <a:xfrm>
            <a:off x="2265375" y="3418085"/>
            <a:ext cx="295262" cy="307777"/>
          </a:xfrm>
          <a:prstGeom prst="rect">
            <a:avLst/>
          </a:prstGeom>
          <a:noFill/>
        </p:spPr>
        <p:txBody>
          <a:bodyPr wrap="square" rtlCol="0">
            <a:spAutoFit/>
          </a:bodyPr>
          <a:lstStyle/>
          <a:p>
            <a:pPr algn="ctr"/>
            <a:r>
              <a:rPr lang="en-US" sz="1400" dirty="0">
                <a:solidFill>
                  <a:srgbClr val="505050"/>
                </a:solidFill>
                <a:latin typeface="Segoe MDL2 Assets" panose="050A0102010101010101" pitchFamily="18" charset="0"/>
              </a:rPr>
              <a:t></a:t>
            </a:r>
          </a:p>
        </p:txBody>
      </p:sp>
    </p:spTree>
    <p:extLst>
      <p:ext uri="{BB962C8B-B14F-4D97-AF65-F5344CB8AC3E}">
        <p14:creationId xmlns:p14="http://schemas.microsoft.com/office/powerpoint/2010/main" val="182686725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5" name="TextBox 4"/>
          <p:cNvSpPr txBox="1"/>
          <p:nvPr/>
        </p:nvSpPr>
        <p:spPr>
          <a:xfrm>
            <a:off x="882" y="-900310"/>
            <a:ext cx="12434711" cy="476479"/>
          </a:xfrm>
          <a:prstGeom prst="rect">
            <a:avLst/>
          </a:prstGeom>
          <a:solidFill>
            <a:schemeClr val="accent6">
              <a:lumMod val="75000"/>
            </a:schemeClr>
          </a:solidFill>
        </p:spPr>
        <p:txBody>
          <a:bodyPr wrap="square" lIns="93260" tIns="93260" bIns="93260" rtlCol="0">
            <a:spAutoFit/>
          </a:bodyPr>
          <a:lstStyle/>
          <a:p>
            <a:r>
              <a:rPr lang="en-US" sz="1836" dirty="0">
                <a:solidFill>
                  <a:srgbClr val="000000"/>
                </a:solidFill>
                <a:cs typeface="Segoe UI" panose="020B0502040204020203" pitchFamily="34" charset="0"/>
              </a:rPr>
              <a:t>… which is immediately hidden by </a:t>
            </a:r>
            <a:r>
              <a:rPr lang="en-US" sz="1836" dirty="0" err="1">
                <a:solidFill>
                  <a:srgbClr val="000000"/>
                </a:solidFill>
                <a:cs typeface="Segoe UI" panose="020B0502040204020203" pitchFamily="34" charset="0"/>
              </a:rPr>
              <a:t>CredUI</a:t>
            </a:r>
            <a:endParaRPr lang="en-US" sz="1836" dirty="0">
              <a:solidFill>
                <a:srgbClr val="000000"/>
              </a:solidFill>
              <a:cs typeface="Segoe UI" panose="020B0502040204020203" pitchFamily="34" charset="0"/>
            </a:endParaRPr>
          </a:p>
        </p:txBody>
      </p:sp>
      <p:grpSp>
        <p:nvGrpSpPr>
          <p:cNvPr id="6" name="Group 5"/>
          <p:cNvGrpSpPr/>
          <p:nvPr/>
        </p:nvGrpSpPr>
        <p:grpSpPr>
          <a:xfrm>
            <a:off x="-190601" y="-221990"/>
            <a:ext cx="12815205" cy="7943206"/>
            <a:chOff x="-187745" y="-217657"/>
            <a:chExt cx="12565067" cy="7788164"/>
          </a:xfrm>
        </p:grpSpPr>
        <p:sp>
          <p:nvSpPr>
            <p:cNvPr id="8" name="Rounded Rectangle 7"/>
            <p:cNvSpPr/>
            <p:nvPr/>
          </p:nvSpPr>
          <p:spPr>
            <a:xfrm>
              <a:off x="-187745" y="6908696"/>
              <a:ext cx="12565067" cy="661811"/>
            </a:xfrm>
            <a:prstGeom prst="roundRect">
              <a:avLst>
                <a:gd name="adj" fmla="val 12372"/>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rgbClr val="FFFFFF"/>
                </a:solidFill>
              </a:endParaRPr>
            </a:p>
          </p:txBody>
        </p:sp>
        <p:pic>
          <p:nvPicPr>
            <p:cNvPr id="9" name="Picture 8"/>
            <p:cNvPicPr>
              <a:picLocks noChangeAspect="1"/>
            </p:cNvPicPr>
            <p:nvPr/>
          </p:nvPicPr>
          <p:blipFill rotWithShape="1">
            <a:blip r:embed="rId2" cstate="print">
              <a:extLst>
                <a:ext uri="{28A0092B-C50C-407E-A947-70E740481C1C}">
                  <a14:useLocalDpi xmlns:a14="http://schemas.microsoft.com/office/drawing/2010/main" val="0"/>
                </a:ext>
              </a:extLst>
            </a:blip>
            <a:srcRect l="15890" t="13026" r="15630" b="12506"/>
            <a:stretch/>
          </p:blipFill>
          <p:spPr>
            <a:xfrm>
              <a:off x="5991714" y="6982364"/>
              <a:ext cx="419714" cy="456419"/>
            </a:xfrm>
            <a:prstGeom prst="rect">
              <a:avLst/>
            </a:prstGeom>
          </p:spPr>
        </p:pic>
        <p:sp>
          <p:nvSpPr>
            <p:cNvPr id="10" name="Rounded Rectangle 9"/>
            <p:cNvSpPr/>
            <p:nvPr/>
          </p:nvSpPr>
          <p:spPr>
            <a:xfrm>
              <a:off x="-187744" y="-217657"/>
              <a:ext cx="12565066" cy="178973"/>
            </a:xfrm>
            <a:prstGeom prst="roundRect">
              <a:avLst>
                <a:gd name="adj" fmla="val 50000"/>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rgbClr val="FFFFFF"/>
                </a:solidFill>
              </a:endParaRPr>
            </a:p>
          </p:txBody>
        </p:sp>
        <p:sp>
          <p:nvSpPr>
            <p:cNvPr id="11" name="Rounded Rectangle 10"/>
            <p:cNvSpPr/>
            <p:nvPr/>
          </p:nvSpPr>
          <p:spPr>
            <a:xfrm>
              <a:off x="-187744" y="-155574"/>
              <a:ext cx="149644" cy="7431138"/>
            </a:xfrm>
            <a:prstGeom prst="roundRect">
              <a:avLst>
                <a:gd name="adj" fmla="val 37018"/>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rgbClr val="FFFFFF"/>
                </a:solidFill>
              </a:endParaRPr>
            </a:p>
          </p:txBody>
        </p:sp>
        <p:sp>
          <p:nvSpPr>
            <p:cNvPr id="12" name="Rounded Rectangle 11"/>
            <p:cNvSpPr/>
            <p:nvPr/>
          </p:nvSpPr>
          <p:spPr>
            <a:xfrm>
              <a:off x="12227678" y="-155574"/>
              <a:ext cx="149644" cy="7431138"/>
            </a:xfrm>
            <a:prstGeom prst="roundRect">
              <a:avLst>
                <a:gd name="adj" fmla="val 37018"/>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rgbClr val="FFFFFF"/>
                </a:solidFill>
              </a:endParaRPr>
            </a:p>
          </p:txBody>
        </p:sp>
      </p:grpSp>
      <p:sp>
        <p:nvSpPr>
          <p:cNvPr id="13" name="Rectangle 12"/>
          <p:cNvSpPr/>
          <p:nvPr/>
        </p:nvSpPr>
        <p:spPr>
          <a:xfrm>
            <a:off x="-37977" y="-39453"/>
            <a:ext cx="12509958" cy="7085684"/>
          </a:xfrm>
          <a:prstGeom prst="rect">
            <a:avLst/>
          </a:prstGeom>
          <a:solidFill>
            <a:srgbClr val="005A9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rgbClr val="FFFFFF"/>
              </a:solidFill>
            </a:endParaRPr>
          </a:p>
        </p:txBody>
      </p:sp>
      <p:sp>
        <p:nvSpPr>
          <p:cNvPr id="15" name="Arc 14"/>
          <p:cNvSpPr/>
          <p:nvPr/>
        </p:nvSpPr>
        <p:spPr>
          <a:xfrm>
            <a:off x="5747762" y="3034150"/>
            <a:ext cx="938478" cy="938478"/>
          </a:xfrm>
          <a:prstGeom prst="arc">
            <a:avLst>
              <a:gd name="adj1" fmla="val 14618078"/>
              <a:gd name="adj2" fmla="val 3565548"/>
            </a:avLst>
          </a:prstGeom>
          <a:noFill/>
          <a:ln w="38100">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solidFill>
                <a:srgbClr val="FFFFFF"/>
              </a:solidFill>
            </a:endParaRPr>
          </a:p>
        </p:txBody>
      </p:sp>
      <p:pic>
        <p:nvPicPr>
          <p:cNvPr id="14" name="Picture 5" descr="C:\Users\James Hwang\Desktop\MS\MSA\OOBE PIN\PNGs\Mobile_MSA_PIN_02_25_2015_PIN-1.png"/>
          <p:cNvPicPr>
            <a:picLocks noChangeAspect="1" noChangeArrowheads="1"/>
          </p:cNvPicPr>
          <p:nvPr/>
        </p:nvPicPr>
        <p:blipFill rotWithShape="1">
          <a:blip r:embed="rId3">
            <a:clrChange>
              <a:clrFrom>
                <a:srgbClr val="000000"/>
              </a:clrFrom>
              <a:clrTo>
                <a:srgbClr val="000000">
                  <a:alpha val="0"/>
                </a:srgbClr>
              </a:clrTo>
            </a:clrChange>
            <a:extLst>
              <a:ext uri="{28A0092B-C50C-407E-A947-70E740481C1C}">
                <a14:useLocalDpi xmlns:a14="http://schemas.microsoft.com/office/drawing/2010/main" val="0"/>
              </a:ext>
            </a:extLst>
          </a:blip>
          <a:srcRect l="27563" t="47413" r="27885" b="15034"/>
          <a:stretch/>
        </p:blipFill>
        <p:spPr bwMode="auto">
          <a:xfrm>
            <a:off x="4945159" y="2917996"/>
            <a:ext cx="2057648" cy="2190878"/>
          </a:xfrm>
          <a:prstGeom prst="rect">
            <a:avLst/>
          </a:prstGeom>
          <a:noFill/>
          <a:extLst>
            <a:ext uri="{909E8E84-426E-40DD-AFC4-6F175D3DCCD1}">
              <a14:hiddenFill xmlns:a14="http://schemas.microsoft.com/office/drawing/2010/main">
                <a:solidFill>
                  <a:srgbClr val="FFFFFF"/>
                </a:solidFill>
              </a14:hiddenFill>
            </a:ext>
          </a:extLst>
        </p:spPr>
      </p:pic>
      <p:grpSp>
        <p:nvGrpSpPr>
          <p:cNvPr id="16" name="Group 15"/>
          <p:cNvGrpSpPr/>
          <p:nvPr/>
        </p:nvGrpSpPr>
        <p:grpSpPr>
          <a:xfrm>
            <a:off x="3510895" y="1782971"/>
            <a:ext cx="4818652" cy="3475875"/>
            <a:chOff x="4300634" y="2132912"/>
            <a:chExt cx="3332093" cy="2403564"/>
          </a:xfrm>
        </p:grpSpPr>
        <p:grpSp>
          <p:nvGrpSpPr>
            <p:cNvPr id="17" name="Group 16"/>
            <p:cNvGrpSpPr/>
            <p:nvPr/>
          </p:nvGrpSpPr>
          <p:grpSpPr>
            <a:xfrm>
              <a:off x="4300634" y="2132912"/>
              <a:ext cx="3332093" cy="2403564"/>
              <a:chOff x="4300634" y="2132912"/>
              <a:chExt cx="3332093" cy="2403564"/>
            </a:xfrm>
          </p:grpSpPr>
          <p:pic>
            <p:nvPicPr>
              <p:cNvPr id="19" name="Picture 18"/>
              <p:cNvPicPr>
                <a:picLocks noChangeAspect="1"/>
              </p:cNvPicPr>
              <p:nvPr/>
            </p:nvPicPr>
            <p:blipFill>
              <a:blip r:embed="rId4"/>
              <a:stretch>
                <a:fillRect/>
              </a:stretch>
            </p:blipFill>
            <p:spPr>
              <a:xfrm>
                <a:off x="4300634" y="2132912"/>
                <a:ext cx="3332093" cy="2403564"/>
              </a:xfrm>
              <a:prstGeom prst="rect">
                <a:avLst/>
              </a:prstGeom>
            </p:spPr>
          </p:pic>
          <p:sp>
            <p:nvSpPr>
              <p:cNvPr id="20" name="TextBox 19"/>
              <p:cNvSpPr txBox="1"/>
              <p:nvPr/>
            </p:nvSpPr>
            <p:spPr>
              <a:xfrm>
                <a:off x="4325268" y="2341103"/>
                <a:ext cx="3204724" cy="264366"/>
              </a:xfrm>
              <a:prstGeom prst="rect">
                <a:avLst/>
              </a:prstGeom>
              <a:solidFill>
                <a:srgbClr val="00260D"/>
              </a:solidFill>
            </p:spPr>
            <p:txBody>
              <a:bodyPr wrap="none" rtlCol="0">
                <a:spAutoFit/>
              </a:bodyPr>
              <a:lstStyle/>
              <a:p>
                <a:r>
                  <a:rPr lang="en-US" sz="1836" dirty="0">
                    <a:solidFill>
                      <a:srgbClr val="FFFFFF"/>
                    </a:solidFill>
                  </a:rPr>
                  <a:t>Create a work PIN                                       </a:t>
                </a:r>
              </a:p>
            </p:txBody>
          </p:sp>
          <p:sp>
            <p:nvSpPr>
              <p:cNvPr id="21" name="TextBox 20"/>
              <p:cNvSpPr txBox="1"/>
              <p:nvPr/>
            </p:nvSpPr>
            <p:spPr>
              <a:xfrm>
                <a:off x="4372895" y="2139420"/>
                <a:ext cx="1603108" cy="110703"/>
              </a:xfrm>
              <a:prstGeom prst="rect">
                <a:avLst/>
              </a:prstGeom>
              <a:solidFill>
                <a:srgbClr val="74847A"/>
              </a:solidFill>
            </p:spPr>
            <p:txBody>
              <a:bodyPr wrap="none" lIns="0" tIns="0" rIns="0" bIns="0" rtlCol="0">
                <a:spAutoFit/>
              </a:bodyPr>
              <a:lstStyle/>
              <a:p>
                <a:r>
                  <a:rPr lang="en-US" sz="1020" dirty="0">
                    <a:solidFill>
                      <a:srgbClr val="00260D"/>
                    </a:solidFill>
                    <a:cs typeface="Segoe UI" panose="020B0502040204020203" pitchFamily="34" charset="0"/>
                  </a:rPr>
                  <a:t>Create a work PIN                                   </a:t>
                </a:r>
              </a:p>
            </p:txBody>
          </p:sp>
        </p:grpSp>
        <p:sp>
          <p:nvSpPr>
            <p:cNvPr id="18" name="Rectangle 17"/>
            <p:cNvSpPr/>
            <p:nvPr/>
          </p:nvSpPr>
          <p:spPr>
            <a:xfrm>
              <a:off x="4404360" y="2609731"/>
              <a:ext cx="2879488" cy="199247"/>
            </a:xfrm>
            <a:prstGeom prst="rect">
              <a:avLst/>
            </a:prstGeom>
            <a:solidFill>
              <a:srgbClr val="00260D"/>
            </a:solidFill>
          </p:spPr>
          <p:txBody>
            <a:bodyPr wrap="square" lIns="0" tIns="0" rIns="0" bIns="0" rtlCol="0">
              <a:spAutoFit/>
            </a:bodyPr>
            <a:lstStyle/>
            <a:p>
              <a:r>
                <a:rPr lang="en-US" sz="918" dirty="0">
                  <a:solidFill>
                    <a:srgbClr val="FFFFFF"/>
                  </a:solidFill>
                  <a:cs typeface="Segoe UI" panose="020B0502040204020203" pitchFamily="34" charset="0"/>
                </a:rPr>
                <a:t>You’ll use your work PIN to unlock this device and access your organization’s apps and services. </a:t>
              </a:r>
            </a:p>
          </p:txBody>
        </p:sp>
      </p:grpSp>
      <p:sp>
        <p:nvSpPr>
          <p:cNvPr id="22" name="Rectangle 21"/>
          <p:cNvSpPr/>
          <p:nvPr/>
        </p:nvSpPr>
        <p:spPr>
          <a:xfrm>
            <a:off x="3857584" y="4143430"/>
            <a:ext cx="2739523" cy="288137"/>
          </a:xfrm>
          <a:prstGeom prst="rect">
            <a:avLst/>
          </a:prstGeom>
          <a:solidFill>
            <a:srgbClr val="00260D"/>
          </a:solidFill>
        </p:spPr>
        <p:txBody>
          <a:bodyPr wrap="square" lIns="0" tIns="0" rIns="0" bIns="0" rtlCol="0">
            <a:spAutoFit/>
          </a:bodyPr>
          <a:lstStyle/>
          <a:p>
            <a:r>
              <a:rPr lang="en-US" sz="918" dirty="0">
                <a:solidFill>
                  <a:srgbClr val="FFFFFF"/>
                </a:solidFill>
                <a:cs typeface="Segoe UI" panose="020B0502040204020203" pitchFamily="34" charset="0"/>
              </a:rPr>
              <a:t>Use a 4-digit PIN</a:t>
            </a:r>
          </a:p>
          <a:p>
            <a:endParaRPr lang="en-US" sz="918" dirty="0">
              <a:solidFill>
                <a:srgbClr val="FFFFFF"/>
              </a:solidFill>
              <a:cs typeface="Segoe UI" panose="020B0502040204020203" pitchFamily="34" charset="0"/>
            </a:endParaRPr>
          </a:p>
        </p:txBody>
      </p:sp>
    </p:spTree>
    <p:extLst>
      <p:ext uri="{BB962C8B-B14F-4D97-AF65-F5344CB8AC3E}">
        <p14:creationId xmlns:p14="http://schemas.microsoft.com/office/powerpoint/2010/main" val="13915765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5" name="TextBox 44"/>
          <p:cNvSpPr txBox="1"/>
          <p:nvPr/>
        </p:nvSpPr>
        <p:spPr>
          <a:xfrm>
            <a:off x="882" y="-900310"/>
            <a:ext cx="12434711" cy="476479"/>
          </a:xfrm>
          <a:prstGeom prst="rect">
            <a:avLst/>
          </a:prstGeom>
          <a:solidFill>
            <a:schemeClr val="accent6">
              <a:lumMod val="75000"/>
            </a:schemeClr>
          </a:solidFill>
        </p:spPr>
        <p:txBody>
          <a:bodyPr wrap="square" lIns="93260" tIns="93260" bIns="93260" rtlCol="0">
            <a:spAutoFit/>
          </a:bodyPr>
          <a:lstStyle/>
          <a:p>
            <a:r>
              <a:rPr lang="en-US" sz="1836" dirty="0">
                <a:solidFill>
                  <a:srgbClr val="000000"/>
                </a:solidFill>
                <a:cs typeface="Segoe UI" panose="020B0502040204020203" pitchFamily="34" charset="0"/>
              </a:rPr>
              <a:t>Cred UI version with custom complexity policy</a:t>
            </a:r>
          </a:p>
        </p:txBody>
      </p:sp>
      <p:grpSp>
        <p:nvGrpSpPr>
          <p:cNvPr id="33" name="Group 32"/>
          <p:cNvGrpSpPr/>
          <p:nvPr/>
        </p:nvGrpSpPr>
        <p:grpSpPr>
          <a:xfrm>
            <a:off x="-190601" y="-221990"/>
            <a:ext cx="12815205" cy="7943206"/>
            <a:chOff x="-187745" y="-217657"/>
            <a:chExt cx="12565067" cy="7788164"/>
          </a:xfrm>
        </p:grpSpPr>
        <p:sp>
          <p:nvSpPr>
            <p:cNvPr id="34" name="Rounded Rectangle 33"/>
            <p:cNvSpPr/>
            <p:nvPr/>
          </p:nvSpPr>
          <p:spPr>
            <a:xfrm>
              <a:off x="-187745" y="6908696"/>
              <a:ext cx="12565067" cy="661811"/>
            </a:xfrm>
            <a:prstGeom prst="roundRect">
              <a:avLst>
                <a:gd name="adj" fmla="val 12372"/>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rgbClr val="FFFFFF"/>
                </a:solidFill>
              </a:endParaRPr>
            </a:p>
          </p:txBody>
        </p:sp>
        <p:pic>
          <p:nvPicPr>
            <p:cNvPr id="35" name="Picture 34"/>
            <p:cNvPicPr>
              <a:picLocks noChangeAspect="1"/>
            </p:cNvPicPr>
            <p:nvPr/>
          </p:nvPicPr>
          <p:blipFill rotWithShape="1">
            <a:blip r:embed="rId3" cstate="print">
              <a:extLst>
                <a:ext uri="{28A0092B-C50C-407E-A947-70E740481C1C}">
                  <a14:useLocalDpi xmlns:a14="http://schemas.microsoft.com/office/drawing/2010/main" val="0"/>
                </a:ext>
              </a:extLst>
            </a:blip>
            <a:srcRect l="15890" t="13026" r="15630" b="12506"/>
            <a:stretch/>
          </p:blipFill>
          <p:spPr>
            <a:xfrm>
              <a:off x="5991714" y="6982364"/>
              <a:ext cx="419714" cy="456419"/>
            </a:xfrm>
            <a:prstGeom prst="rect">
              <a:avLst/>
            </a:prstGeom>
          </p:spPr>
        </p:pic>
        <p:sp>
          <p:nvSpPr>
            <p:cNvPr id="36" name="Rounded Rectangle 35"/>
            <p:cNvSpPr/>
            <p:nvPr/>
          </p:nvSpPr>
          <p:spPr>
            <a:xfrm>
              <a:off x="-187744" y="-217657"/>
              <a:ext cx="12565066" cy="178973"/>
            </a:xfrm>
            <a:prstGeom prst="roundRect">
              <a:avLst>
                <a:gd name="adj" fmla="val 50000"/>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rgbClr val="FFFFFF"/>
                </a:solidFill>
              </a:endParaRPr>
            </a:p>
          </p:txBody>
        </p:sp>
        <p:sp>
          <p:nvSpPr>
            <p:cNvPr id="37" name="Rounded Rectangle 36"/>
            <p:cNvSpPr/>
            <p:nvPr/>
          </p:nvSpPr>
          <p:spPr>
            <a:xfrm>
              <a:off x="-187744" y="-155574"/>
              <a:ext cx="149644" cy="7431138"/>
            </a:xfrm>
            <a:prstGeom prst="roundRect">
              <a:avLst>
                <a:gd name="adj" fmla="val 37018"/>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rgbClr val="FFFFFF"/>
                </a:solidFill>
              </a:endParaRPr>
            </a:p>
          </p:txBody>
        </p:sp>
        <p:sp>
          <p:nvSpPr>
            <p:cNvPr id="38" name="Rounded Rectangle 37"/>
            <p:cNvSpPr/>
            <p:nvPr/>
          </p:nvSpPr>
          <p:spPr>
            <a:xfrm>
              <a:off x="12227678" y="-155574"/>
              <a:ext cx="149644" cy="7431138"/>
            </a:xfrm>
            <a:prstGeom prst="roundRect">
              <a:avLst>
                <a:gd name="adj" fmla="val 37018"/>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rgbClr val="FFFFFF"/>
                </a:solidFill>
              </a:endParaRPr>
            </a:p>
          </p:txBody>
        </p:sp>
      </p:grpSp>
      <p:sp>
        <p:nvSpPr>
          <p:cNvPr id="39" name="Rectangle 38"/>
          <p:cNvSpPr/>
          <p:nvPr/>
        </p:nvSpPr>
        <p:spPr>
          <a:xfrm>
            <a:off x="-37977" y="-39453"/>
            <a:ext cx="12509958" cy="7085684"/>
          </a:xfrm>
          <a:prstGeom prst="rect">
            <a:avLst/>
          </a:prstGeom>
          <a:solidFill>
            <a:srgbClr val="005A9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rgbClr val="FFFFFF"/>
              </a:solidFill>
            </a:endParaRPr>
          </a:p>
        </p:txBody>
      </p:sp>
      <p:pic>
        <p:nvPicPr>
          <p:cNvPr id="43" name="Picture 5" descr="C:\Users\James Hwang\Desktop\MS\MSA\OOBE PIN\PNGs\Mobile_MSA_PIN_02_25_2015_PIN-1.png"/>
          <p:cNvPicPr>
            <a:picLocks noChangeAspect="1" noChangeArrowheads="1"/>
          </p:cNvPicPr>
          <p:nvPr/>
        </p:nvPicPr>
        <p:blipFill rotWithShape="1">
          <a:blip r:embed="rId4">
            <a:clrChange>
              <a:clrFrom>
                <a:srgbClr val="000000"/>
              </a:clrFrom>
              <a:clrTo>
                <a:srgbClr val="000000">
                  <a:alpha val="0"/>
                </a:srgbClr>
              </a:clrTo>
            </a:clrChange>
            <a:extLst>
              <a:ext uri="{28A0092B-C50C-407E-A947-70E740481C1C}">
                <a14:useLocalDpi xmlns:a14="http://schemas.microsoft.com/office/drawing/2010/main" val="0"/>
              </a:ext>
            </a:extLst>
          </a:blip>
          <a:srcRect l="27563" t="47413" r="27885" b="15034"/>
          <a:stretch/>
        </p:blipFill>
        <p:spPr bwMode="auto">
          <a:xfrm>
            <a:off x="4945159" y="2917996"/>
            <a:ext cx="2057648" cy="2190878"/>
          </a:xfrm>
          <a:prstGeom prst="rect">
            <a:avLst/>
          </a:prstGeom>
          <a:noFill/>
          <a:extLst>
            <a:ext uri="{909E8E84-426E-40DD-AFC4-6F175D3DCCD1}">
              <a14:hiddenFill xmlns:a14="http://schemas.microsoft.com/office/drawing/2010/main">
                <a:solidFill>
                  <a:srgbClr val="FFFFFF"/>
                </a:solidFill>
              </a14:hiddenFill>
            </a:ext>
          </a:extLst>
        </p:spPr>
      </p:pic>
      <p:grpSp>
        <p:nvGrpSpPr>
          <p:cNvPr id="79" name="Group 78"/>
          <p:cNvGrpSpPr/>
          <p:nvPr/>
        </p:nvGrpSpPr>
        <p:grpSpPr>
          <a:xfrm>
            <a:off x="3510895" y="1782971"/>
            <a:ext cx="4818652" cy="3475875"/>
            <a:chOff x="4300634" y="2132912"/>
            <a:chExt cx="3332093" cy="2403564"/>
          </a:xfrm>
        </p:grpSpPr>
        <p:grpSp>
          <p:nvGrpSpPr>
            <p:cNvPr id="80" name="Group 79"/>
            <p:cNvGrpSpPr/>
            <p:nvPr/>
          </p:nvGrpSpPr>
          <p:grpSpPr>
            <a:xfrm>
              <a:off x="4300634" y="2132912"/>
              <a:ext cx="3332093" cy="2403564"/>
              <a:chOff x="4300634" y="2132912"/>
              <a:chExt cx="3332093" cy="2403564"/>
            </a:xfrm>
          </p:grpSpPr>
          <p:pic>
            <p:nvPicPr>
              <p:cNvPr id="82" name="Picture 81"/>
              <p:cNvPicPr>
                <a:picLocks noChangeAspect="1"/>
              </p:cNvPicPr>
              <p:nvPr/>
            </p:nvPicPr>
            <p:blipFill>
              <a:blip r:embed="rId5"/>
              <a:stretch>
                <a:fillRect/>
              </a:stretch>
            </p:blipFill>
            <p:spPr>
              <a:xfrm>
                <a:off x="4300634" y="2132912"/>
                <a:ext cx="3332093" cy="2403564"/>
              </a:xfrm>
              <a:prstGeom prst="rect">
                <a:avLst/>
              </a:prstGeom>
            </p:spPr>
          </p:pic>
          <p:sp>
            <p:nvSpPr>
              <p:cNvPr id="83" name="TextBox 82"/>
              <p:cNvSpPr txBox="1"/>
              <p:nvPr/>
            </p:nvSpPr>
            <p:spPr>
              <a:xfrm>
                <a:off x="4325268" y="2341103"/>
                <a:ext cx="3204724" cy="264366"/>
              </a:xfrm>
              <a:prstGeom prst="rect">
                <a:avLst/>
              </a:prstGeom>
              <a:solidFill>
                <a:srgbClr val="00260D"/>
              </a:solidFill>
            </p:spPr>
            <p:txBody>
              <a:bodyPr wrap="none" rtlCol="0">
                <a:spAutoFit/>
              </a:bodyPr>
              <a:lstStyle/>
              <a:p>
                <a:r>
                  <a:rPr lang="en-US" sz="1836" dirty="0">
                    <a:solidFill>
                      <a:srgbClr val="FFFFFF"/>
                    </a:solidFill>
                  </a:rPr>
                  <a:t>Create a work PIN                                       </a:t>
                </a:r>
              </a:p>
            </p:txBody>
          </p:sp>
          <p:sp>
            <p:nvSpPr>
              <p:cNvPr id="84" name="TextBox 83"/>
              <p:cNvSpPr txBox="1"/>
              <p:nvPr/>
            </p:nvSpPr>
            <p:spPr>
              <a:xfrm>
                <a:off x="4372895" y="2139420"/>
                <a:ext cx="1603108" cy="110703"/>
              </a:xfrm>
              <a:prstGeom prst="rect">
                <a:avLst/>
              </a:prstGeom>
              <a:solidFill>
                <a:srgbClr val="74847A"/>
              </a:solidFill>
            </p:spPr>
            <p:txBody>
              <a:bodyPr wrap="none" lIns="0" tIns="0" rIns="0" bIns="0" rtlCol="0">
                <a:spAutoFit/>
              </a:bodyPr>
              <a:lstStyle/>
              <a:p>
                <a:r>
                  <a:rPr lang="en-US" sz="1020" dirty="0">
                    <a:solidFill>
                      <a:srgbClr val="00260D"/>
                    </a:solidFill>
                    <a:cs typeface="Segoe UI" panose="020B0502040204020203" pitchFamily="34" charset="0"/>
                  </a:rPr>
                  <a:t>Create a work PIN                                   </a:t>
                </a:r>
              </a:p>
            </p:txBody>
          </p:sp>
        </p:grpSp>
        <p:sp>
          <p:nvSpPr>
            <p:cNvPr id="81" name="Rectangle 80"/>
            <p:cNvSpPr/>
            <p:nvPr/>
          </p:nvSpPr>
          <p:spPr>
            <a:xfrm>
              <a:off x="4404360" y="2609731"/>
              <a:ext cx="2879488" cy="199247"/>
            </a:xfrm>
            <a:prstGeom prst="rect">
              <a:avLst/>
            </a:prstGeom>
            <a:solidFill>
              <a:srgbClr val="00260D"/>
            </a:solidFill>
          </p:spPr>
          <p:txBody>
            <a:bodyPr wrap="square" lIns="0" tIns="0" rIns="0" bIns="0" rtlCol="0">
              <a:spAutoFit/>
            </a:bodyPr>
            <a:lstStyle/>
            <a:p>
              <a:r>
                <a:rPr lang="en-US" sz="918" dirty="0">
                  <a:solidFill>
                    <a:srgbClr val="FFFFFF"/>
                  </a:solidFill>
                  <a:cs typeface="Segoe UI" panose="020B0502040204020203" pitchFamily="34" charset="0"/>
                </a:rPr>
                <a:t>You’ll use your work PIN to unlock this device and access your organization’s apps and services</a:t>
              </a:r>
              <a:r>
                <a:rPr lang="en-US" sz="918" dirty="0">
                  <a:solidFill>
                    <a:srgbClr val="000000">
                      <a:lumMod val="95000"/>
                    </a:srgbClr>
                  </a:solidFill>
                  <a:cs typeface="Segoe UI" panose="020B0502040204020203" pitchFamily="34" charset="0"/>
                </a:rPr>
                <a:t>. </a:t>
              </a:r>
              <a:endParaRPr lang="en-US" sz="918" dirty="0">
                <a:solidFill>
                  <a:srgbClr val="000000"/>
                </a:solidFill>
                <a:cs typeface="Segoe UI" panose="020B0502040204020203" pitchFamily="34" charset="0"/>
              </a:endParaRPr>
            </a:p>
          </p:txBody>
        </p:sp>
        <p:sp>
          <p:nvSpPr>
            <p:cNvPr id="23" name="Rectangle 22"/>
            <p:cNvSpPr/>
            <p:nvPr/>
          </p:nvSpPr>
          <p:spPr>
            <a:xfrm>
              <a:off x="4398389" y="3758449"/>
              <a:ext cx="2043822" cy="199247"/>
            </a:xfrm>
            <a:prstGeom prst="rect">
              <a:avLst/>
            </a:prstGeom>
            <a:solidFill>
              <a:srgbClr val="00260D"/>
            </a:solidFill>
          </p:spPr>
          <p:txBody>
            <a:bodyPr wrap="square" lIns="0" tIns="0" rIns="0" bIns="0" rtlCol="0">
              <a:spAutoFit/>
            </a:bodyPr>
            <a:lstStyle/>
            <a:p>
              <a:r>
                <a:rPr lang="en-US" sz="918" spc="-10" dirty="0">
                  <a:solidFill>
                    <a:srgbClr val="A6D8FF"/>
                  </a:solidFill>
                  <a:ea typeface="Segoe UI" panose="020B0502040204020203" pitchFamily="34" charset="0"/>
                  <a:cs typeface="Segoe UI" panose="020B0502040204020203" pitchFamily="34" charset="0"/>
                </a:rPr>
                <a:t>PIN complexity requirements</a:t>
              </a:r>
            </a:p>
            <a:p>
              <a:endParaRPr lang="en-US" sz="918" dirty="0">
                <a:solidFill>
                  <a:srgbClr val="000000"/>
                </a:solidFill>
                <a:cs typeface="Segoe UI" panose="020B0502040204020203" pitchFamily="34" charset="0"/>
              </a:endParaRPr>
            </a:p>
          </p:txBody>
        </p:sp>
      </p:grpSp>
    </p:spTree>
    <p:extLst>
      <p:ext uri="{BB962C8B-B14F-4D97-AF65-F5344CB8AC3E}">
        <p14:creationId xmlns:p14="http://schemas.microsoft.com/office/powerpoint/2010/main" val="225630114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5" name="TextBox 44"/>
          <p:cNvSpPr txBox="1"/>
          <p:nvPr/>
        </p:nvSpPr>
        <p:spPr>
          <a:xfrm>
            <a:off x="882" y="-900310"/>
            <a:ext cx="12434711" cy="476479"/>
          </a:xfrm>
          <a:prstGeom prst="rect">
            <a:avLst/>
          </a:prstGeom>
          <a:solidFill>
            <a:schemeClr val="accent6">
              <a:lumMod val="75000"/>
            </a:schemeClr>
          </a:solidFill>
        </p:spPr>
        <p:txBody>
          <a:bodyPr wrap="square" lIns="93260" tIns="93260" bIns="93260" rtlCol="0">
            <a:spAutoFit/>
          </a:bodyPr>
          <a:lstStyle/>
          <a:p>
            <a:r>
              <a:rPr lang="en-US" sz="1836" dirty="0">
                <a:solidFill>
                  <a:srgbClr val="000000"/>
                </a:solidFill>
                <a:cs typeface="Segoe UI" panose="020B0502040204020203" pitchFamily="34" charset="0"/>
              </a:rPr>
              <a:t>Cred UI version with custom complexity policy – more details shown on click</a:t>
            </a:r>
          </a:p>
        </p:txBody>
      </p:sp>
      <p:grpSp>
        <p:nvGrpSpPr>
          <p:cNvPr id="33" name="Group 32"/>
          <p:cNvGrpSpPr/>
          <p:nvPr/>
        </p:nvGrpSpPr>
        <p:grpSpPr>
          <a:xfrm>
            <a:off x="-190601" y="-221990"/>
            <a:ext cx="12815205" cy="7943206"/>
            <a:chOff x="-187745" y="-217657"/>
            <a:chExt cx="12565067" cy="7788164"/>
          </a:xfrm>
        </p:grpSpPr>
        <p:sp>
          <p:nvSpPr>
            <p:cNvPr id="34" name="Rounded Rectangle 33"/>
            <p:cNvSpPr/>
            <p:nvPr/>
          </p:nvSpPr>
          <p:spPr>
            <a:xfrm>
              <a:off x="-187745" y="6908696"/>
              <a:ext cx="12565067" cy="661811"/>
            </a:xfrm>
            <a:prstGeom prst="roundRect">
              <a:avLst>
                <a:gd name="adj" fmla="val 12372"/>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rgbClr val="FFFFFF"/>
                </a:solidFill>
              </a:endParaRPr>
            </a:p>
          </p:txBody>
        </p:sp>
        <p:pic>
          <p:nvPicPr>
            <p:cNvPr id="35" name="Picture 34"/>
            <p:cNvPicPr>
              <a:picLocks noChangeAspect="1"/>
            </p:cNvPicPr>
            <p:nvPr/>
          </p:nvPicPr>
          <p:blipFill rotWithShape="1">
            <a:blip r:embed="rId3" cstate="print">
              <a:extLst>
                <a:ext uri="{28A0092B-C50C-407E-A947-70E740481C1C}">
                  <a14:useLocalDpi xmlns:a14="http://schemas.microsoft.com/office/drawing/2010/main" val="0"/>
                </a:ext>
              </a:extLst>
            </a:blip>
            <a:srcRect l="15890" t="13026" r="15630" b="12506"/>
            <a:stretch/>
          </p:blipFill>
          <p:spPr>
            <a:xfrm>
              <a:off x="5991714" y="6982364"/>
              <a:ext cx="419714" cy="456419"/>
            </a:xfrm>
            <a:prstGeom prst="rect">
              <a:avLst/>
            </a:prstGeom>
          </p:spPr>
        </p:pic>
        <p:sp>
          <p:nvSpPr>
            <p:cNvPr id="36" name="Rounded Rectangle 35"/>
            <p:cNvSpPr/>
            <p:nvPr/>
          </p:nvSpPr>
          <p:spPr>
            <a:xfrm>
              <a:off x="-187744" y="-217657"/>
              <a:ext cx="12565066" cy="178973"/>
            </a:xfrm>
            <a:prstGeom prst="roundRect">
              <a:avLst>
                <a:gd name="adj" fmla="val 50000"/>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rgbClr val="FFFFFF"/>
                </a:solidFill>
              </a:endParaRPr>
            </a:p>
          </p:txBody>
        </p:sp>
        <p:sp>
          <p:nvSpPr>
            <p:cNvPr id="37" name="Rounded Rectangle 36"/>
            <p:cNvSpPr/>
            <p:nvPr/>
          </p:nvSpPr>
          <p:spPr>
            <a:xfrm>
              <a:off x="-187744" y="-155574"/>
              <a:ext cx="149644" cy="7431138"/>
            </a:xfrm>
            <a:prstGeom prst="roundRect">
              <a:avLst>
                <a:gd name="adj" fmla="val 37018"/>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rgbClr val="FFFFFF"/>
                </a:solidFill>
              </a:endParaRPr>
            </a:p>
          </p:txBody>
        </p:sp>
        <p:sp>
          <p:nvSpPr>
            <p:cNvPr id="38" name="Rounded Rectangle 37"/>
            <p:cNvSpPr/>
            <p:nvPr/>
          </p:nvSpPr>
          <p:spPr>
            <a:xfrm>
              <a:off x="12227678" y="-155574"/>
              <a:ext cx="149644" cy="7431138"/>
            </a:xfrm>
            <a:prstGeom prst="roundRect">
              <a:avLst>
                <a:gd name="adj" fmla="val 37018"/>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rgbClr val="FFFFFF"/>
                </a:solidFill>
              </a:endParaRPr>
            </a:p>
          </p:txBody>
        </p:sp>
      </p:grpSp>
      <p:sp>
        <p:nvSpPr>
          <p:cNvPr id="39" name="Rectangle 38"/>
          <p:cNvSpPr/>
          <p:nvPr/>
        </p:nvSpPr>
        <p:spPr>
          <a:xfrm>
            <a:off x="-37977" y="-39453"/>
            <a:ext cx="12509958" cy="7085684"/>
          </a:xfrm>
          <a:prstGeom prst="rect">
            <a:avLst/>
          </a:prstGeom>
          <a:solidFill>
            <a:srgbClr val="005A9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rgbClr val="FFFFFF"/>
              </a:solidFill>
            </a:endParaRPr>
          </a:p>
        </p:txBody>
      </p:sp>
      <p:pic>
        <p:nvPicPr>
          <p:cNvPr id="43" name="Picture 5" descr="C:\Users\James Hwang\Desktop\MS\MSA\OOBE PIN\PNGs\Mobile_MSA_PIN_02_25_2015_PIN-1.png"/>
          <p:cNvPicPr>
            <a:picLocks noChangeAspect="1" noChangeArrowheads="1"/>
          </p:cNvPicPr>
          <p:nvPr/>
        </p:nvPicPr>
        <p:blipFill rotWithShape="1">
          <a:blip r:embed="rId4">
            <a:clrChange>
              <a:clrFrom>
                <a:srgbClr val="000000"/>
              </a:clrFrom>
              <a:clrTo>
                <a:srgbClr val="000000">
                  <a:alpha val="0"/>
                </a:srgbClr>
              </a:clrTo>
            </a:clrChange>
            <a:extLst>
              <a:ext uri="{28A0092B-C50C-407E-A947-70E740481C1C}">
                <a14:useLocalDpi xmlns:a14="http://schemas.microsoft.com/office/drawing/2010/main" val="0"/>
              </a:ext>
            </a:extLst>
          </a:blip>
          <a:srcRect l="27563" t="47413" r="27885" b="15034"/>
          <a:stretch/>
        </p:blipFill>
        <p:spPr bwMode="auto">
          <a:xfrm>
            <a:off x="4945159" y="2917996"/>
            <a:ext cx="2057648" cy="2190878"/>
          </a:xfrm>
          <a:prstGeom prst="rect">
            <a:avLst/>
          </a:prstGeom>
          <a:noFill/>
          <a:extLst>
            <a:ext uri="{909E8E84-426E-40DD-AFC4-6F175D3DCCD1}">
              <a14:hiddenFill xmlns:a14="http://schemas.microsoft.com/office/drawing/2010/main">
                <a:solidFill>
                  <a:srgbClr val="FFFFFF"/>
                </a:solidFill>
              </a14:hiddenFill>
            </a:ext>
          </a:extLst>
        </p:spPr>
      </p:pic>
      <p:grpSp>
        <p:nvGrpSpPr>
          <p:cNvPr id="79" name="Group 78"/>
          <p:cNvGrpSpPr/>
          <p:nvPr/>
        </p:nvGrpSpPr>
        <p:grpSpPr>
          <a:xfrm>
            <a:off x="3510895" y="1782971"/>
            <a:ext cx="4818652" cy="3475875"/>
            <a:chOff x="4300634" y="2132912"/>
            <a:chExt cx="3332093" cy="2403564"/>
          </a:xfrm>
        </p:grpSpPr>
        <p:grpSp>
          <p:nvGrpSpPr>
            <p:cNvPr id="80" name="Group 79"/>
            <p:cNvGrpSpPr/>
            <p:nvPr/>
          </p:nvGrpSpPr>
          <p:grpSpPr>
            <a:xfrm>
              <a:off x="4300634" y="2132912"/>
              <a:ext cx="3332093" cy="2403564"/>
              <a:chOff x="4300634" y="2132912"/>
              <a:chExt cx="3332093" cy="2403564"/>
            </a:xfrm>
          </p:grpSpPr>
          <p:pic>
            <p:nvPicPr>
              <p:cNvPr id="82" name="Picture 81"/>
              <p:cNvPicPr>
                <a:picLocks noChangeAspect="1"/>
              </p:cNvPicPr>
              <p:nvPr/>
            </p:nvPicPr>
            <p:blipFill>
              <a:blip r:embed="rId5"/>
              <a:stretch>
                <a:fillRect/>
              </a:stretch>
            </p:blipFill>
            <p:spPr>
              <a:xfrm>
                <a:off x="4300634" y="2132912"/>
                <a:ext cx="3332093" cy="2403564"/>
              </a:xfrm>
              <a:prstGeom prst="rect">
                <a:avLst/>
              </a:prstGeom>
            </p:spPr>
          </p:pic>
          <p:sp>
            <p:nvSpPr>
              <p:cNvPr id="83" name="TextBox 82"/>
              <p:cNvSpPr txBox="1"/>
              <p:nvPr/>
            </p:nvSpPr>
            <p:spPr>
              <a:xfrm>
                <a:off x="4325268" y="2341103"/>
                <a:ext cx="3204724" cy="264366"/>
              </a:xfrm>
              <a:prstGeom prst="rect">
                <a:avLst/>
              </a:prstGeom>
              <a:solidFill>
                <a:srgbClr val="00260D"/>
              </a:solidFill>
            </p:spPr>
            <p:txBody>
              <a:bodyPr wrap="none" rtlCol="0">
                <a:spAutoFit/>
              </a:bodyPr>
              <a:lstStyle/>
              <a:p>
                <a:r>
                  <a:rPr lang="en-US" sz="1836" dirty="0">
                    <a:solidFill>
                      <a:srgbClr val="FFFFFF"/>
                    </a:solidFill>
                  </a:rPr>
                  <a:t>Create a work PIN                                       </a:t>
                </a:r>
              </a:p>
            </p:txBody>
          </p:sp>
          <p:sp>
            <p:nvSpPr>
              <p:cNvPr id="84" name="TextBox 83"/>
              <p:cNvSpPr txBox="1"/>
              <p:nvPr/>
            </p:nvSpPr>
            <p:spPr>
              <a:xfrm>
                <a:off x="4372895" y="2139420"/>
                <a:ext cx="1603108" cy="110703"/>
              </a:xfrm>
              <a:prstGeom prst="rect">
                <a:avLst/>
              </a:prstGeom>
              <a:solidFill>
                <a:srgbClr val="74847A"/>
              </a:solidFill>
            </p:spPr>
            <p:txBody>
              <a:bodyPr wrap="none" lIns="0" tIns="0" rIns="0" bIns="0" rtlCol="0">
                <a:spAutoFit/>
              </a:bodyPr>
              <a:lstStyle/>
              <a:p>
                <a:r>
                  <a:rPr lang="en-US" sz="1020" dirty="0">
                    <a:solidFill>
                      <a:srgbClr val="00260D"/>
                    </a:solidFill>
                    <a:cs typeface="Segoe UI" panose="020B0502040204020203" pitchFamily="34" charset="0"/>
                  </a:rPr>
                  <a:t>Create a work PIN                                   </a:t>
                </a:r>
              </a:p>
            </p:txBody>
          </p:sp>
        </p:grpSp>
        <p:sp>
          <p:nvSpPr>
            <p:cNvPr id="81" name="Rectangle 80"/>
            <p:cNvSpPr/>
            <p:nvPr/>
          </p:nvSpPr>
          <p:spPr>
            <a:xfrm>
              <a:off x="4404360" y="2609731"/>
              <a:ext cx="2879488" cy="298870"/>
            </a:xfrm>
            <a:prstGeom prst="rect">
              <a:avLst/>
            </a:prstGeom>
            <a:solidFill>
              <a:srgbClr val="00260D"/>
            </a:solidFill>
          </p:spPr>
          <p:txBody>
            <a:bodyPr wrap="square" lIns="0" tIns="0" rIns="0" bIns="0" rtlCol="0">
              <a:spAutoFit/>
            </a:bodyPr>
            <a:lstStyle/>
            <a:p>
              <a:r>
                <a:rPr lang="en-US" sz="918" dirty="0">
                  <a:solidFill>
                    <a:srgbClr val="FFFFFF"/>
                  </a:solidFill>
                  <a:cs typeface="Segoe UI" panose="020B0502040204020203" pitchFamily="34" charset="0"/>
                </a:rPr>
                <a:t>You’ll use your work PIN to unlock this device and access your organization’s apps and services. </a:t>
              </a:r>
            </a:p>
            <a:p>
              <a:endParaRPr lang="en-US" sz="918" dirty="0">
                <a:solidFill>
                  <a:srgbClr val="000000"/>
                </a:solidFill>
                <a:cs typeface="Segoe UI" panose="020B0502040204020203" pitchFamily="34" charset="0"/>
              </a:endParaRPr>
            </a:p>
          </p:txBody>
        </p:sp>
        <p:sp>
          <p:nvSpPr>
            <p:cNvPr id="23" name="Rectangle 22"/>
            <p:cNvSpPr/>
            <p:nvPr/>
          </p:nvSpPr>
          <p:spPr>
            <a:xfrm>
              <a:off x="4404360" y="3758449"/>
              <a:ext cx="2043822" cy="597740"/>
            </a:xfrm>
            <a:prstGeom prst="rect">
              <a:avLst/>
            </a:prstGeom>
            <a:solidFill>
              <a:srgbClr val="00260D"/>
            </a:solidFill>
          </p:spPr>
          <p:txBody>
            <a:bodyPr wrap="square" lIns="0" tIns="0" rIns="0" bIns="0" rtlCol="0">
              <a:spAutoFit/>
            </a:bodyPr>
            <a:lstStyle/>
            <a:p>
              <a:r>
                <a:rPr lang="en-US" sz="918" dirty="0">
                  <a:solidFill>
                    <a:srgbClr val="00BDF3"/>
                  </a:solidFill>
                  <a:cs typeface="Segoe UI" panose="020B0502040204020203" pitchFamily="34" charset="0"/>
                </a:rPr>
                <a:t>Your organization has set the following PIN complexity requirements:</a:t>
              </a:r>
            </a:p>
            <a:p>
              <a:r>
                <a:rPr lang="en-US" sz="918" dirty="0">
                  <a:solidFill>
                    <a:srgbClr val="00BDF3"/>
                  </a:solidFill>
                  <a:cs typeface="Segoe UI" panose="020B0502040204020203" pitchFamily="34" charset="0"/>
                </a:rPr>
                <a:t>Minimum length is 8</a:t>
              </a:r>
            </a:p>
            <a:p>
              <a:r>
                <a:rPr lang="en-US" sz="918" dirty="0">
                  <a:solidFill>
                    <a:srgbClr val="00BDF3"/>
                  </a:solidFill>
                  <a:cs typeface="Segoe UI" panose="020B0502040204020203" pitchFamily="34" charset="0"/>
                </a:rPr>
                <a:t>Maximum length is 127</a:t>
              </a:r>
            </a:p>
            <a:p>
              <a:r>
                <a:rPr lang="en-US" sz="918" dirty="0">
                  <a:solidFill>
                    <a:srgbClr val="00BDF3"/>
                  </a:solidFill>
                  <a:cs typeface="Segoe UI" panose="020B0502040204020203" pitchFamily="34" charset="0"/>
                </a:rPr>
                <a:t>An uppercase letter is required</a:t>
              </a:r>
            </a:p>
            <a:p>
              <a:r>
                <a:rPr lang="en-US" sz="918" dirty="0">
                  <a:solidFill>
                    <a:srgbClr val="00BDF3"/>
                  </a:solidFill>
                  <a:cs typeface="Segoe UI" panose="020B0502040204020203" pitchFamily="34" charset="0"/>
                </a:rPr>
                <a:t>…</a:t>
              </a:r>
            </a:p>
          </p:txBody>
        </p:sp>
      </p:grpSp>
    </p:spTree>
    <p:extLst>
      <p:ext uri="{BB962C8B-B14F-4D97-AF65-F5344CB8AC3E}">
        <p14:creationId xmlns:p14="http://schemas.microsoft.com/office/powerpoint/2010/main" val="160289652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882" y="-900310"/>
            <a:ext cx="12434711" cy="476479"/>
          </a:xfrm>
          <a:prstGeom prst="rect">
            <a:avLst/>
          </a:prstGeom>
          <a:solidFill>
            <a:schemeClr val="accent6">
              <a:lumMod val="75000"/>
            </a:schemeClr>
          </a:solidFill>
        </p:spPr>
        <p:txBody>
          <a:bodyPr wrap="square" lIns="93260" tIns="93260" bIns="93260" rtlCol="0">
            <a:spAutoFit/>
          </a:bodyPr>
          <a:lstStyle/>
          <a:p>
            <a:r>
              <a:rPr lang="en-US" sz="1836" dirty="0">
                <a:solidFill>
                  <a:srgbClr val="000000"/>
                </a:solidFill>
                <a:cs typeface="Segoe UI" panose="020B0502040204020203" pitchFamily="34" charset="0"/>
              </a:rPr>
              <a:t>The moment the user clicks on “Create PIN”, we replace the page with a spinner…</a:t>
            </a:r>
          </a:p>
        </p:txBody>
      </p:sp>
      <p:grpSp>
        <p:nvGrpSpPr>
          <p:cNvPr id="6" name="Group 5"/>
          <p:cNvGrpSpPr/>
          <p:nvPr/>
        </p:nvGrpSpPr>
        <p:grpSpPr>
          <a:xfrm>
            <a:off x="-190601" y="-221990"/>
            <a:ext cx="12815205" cy="7943206"/>
            <a:chOff x="-187745" y="-217657"/>
            <a:chExt cx="12565067" cy="7788164"/>
          </a:xfrm>
        </p:grpSpPr>
        <p:sp>
          <p:nvSpPr>
            <p:cNvPr id="8" name="Rounded Rectangle 7"/>
            <p:cNvSpPr/>
            <p:nvPr/>
          </p:nvSpPr>
          <p:spPr>
            <a:xfrm>
              <a:off x="-187745" y="6908696"/>
              <a:ext cx="12565067" cy="661811"/>
            </a:xfrm>
            <a:prstGeom prst="roundRect">
              <a:avLst>
                <a:gd name="adj" fmla="val 12372"/>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rgbClr val="FFFFFF"/>
                </a:solidFill>
              </a:endParaRPr>
            </a:p>
          </p:txBody>
        </p:sp>
        <p:pic>
          <p:nvPicPr>
            <p:cNvPr id="9" name="Picture 8"/>
            <p:cNvPicPr>
              <a:picLocks noChangeAspect="1"/>
            </p:cNvPicPr>
            <p:nvPr/>
          </p:nvPicPr>
          <p:blipFill rotWithShape="1">
            <a:blip r:embed="rId2" cstate="print">
              <a:extLst>
                <a:ext uri="{28A0092B-C50C-407E-A947-70E740481C1C}">
                  <a14:useLocalDpi xmlns:a14="http://schemas.microsoft.com/office/drawing/2010/main" val="0"/>
                </a:ext>
              </a:extLst>
            </a:blip>
            <a:srcRect l="15890" t="13026" r="15630" b="12506"/>
            <a:stretch/>
          </p:blipFill>
          <p:spPr>
            <a:xfrm>
              <a:off x="5991714" y="6982364"/>
              <a:ext cx="419714" cy="456419"/>
            </a:xfrm>
            <a:prstGeom prst="rect">
              <a:avLst/>
            </a:prstGeom>
          </p:spPr>
        </p:pic>
        <p:sp>
          <p:nvSpPr>
            <p:cNvPr id="10" name="Rounded Rectangle 9"/>
            <p:cNvSpPr/>
            <p:nvPr/>
          </p:nvSpPr>
          <p:spPr>
            <a:xfrm>
              <a:off x="-187744" y="-217657"/>
              <a:ext cx="12565066" cy="178973"/>
            </a:xfrm>
            <a:prstGeom prst="roundRect">
              <a:avLst>
                <a:gd name="adj" fmla="val 50000"/>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rgbClr val="FFFFFF"/>
                </a:solidFill>
              </a:endParaRPr>
            </a:p>
          </p:txBody>
        </p:sp>
        <p:sp>
          <p:nvSpPr>
            <p:cNvPr id="11" name="Rounded Rectangle 10"/>
            <p:cNvSpPr/>
            <p:nvPr/>
          </p:nvSpPr>
          <p:spPr>
            <a:xfrm>
              <a:off x="-187744" y="-155574"/>
              <a:ext cx="149644" cy="7431138"/>
            </a:xfrm>
            <a:prstGeom prst="roundRect">
              <a:avLst>
                <a:gd name="adj" fmla="val 37018"/>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rgbClr val="FFFFFF"/>
                </a:solidFill>
              </a:endParaRPr>
            </a:p>
          </p:txBody>
        </p:sp>
        <p:sp>
          <p:nvSpPr>
            <p:cNvPr id="12" name="Rounded Rectangle 11"/>
            <p:cNvSpPr/>
            <p:nvPr/>
          </p:nvSpPr>
          <p:spPr>
            <a:xfrm>
              <a:off x="12227678" y="-155574"/>
              <a:ext cx="149644" cy="7431138"/>
            </a:xfrm>
            <a:prstGeom prst="roundRect">
              <a:avLst>
                <a:gd name="adj" fmla="val 37018"/>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rgbClr val="FFFFFF"/>
                </a:solidFill>
              </a:endParaRPr>
            </a:p>
          </p:txBody>
        </p:sp>
      </p:grpSp>
      <p:sp>
        <p:nvSpPr>
          <p:cNvPr id="13" name="Rectangle 12"/>
          <p:cNvSpPr/>
          <p:nvPr/>
        </p:nvSpPr>
        <p:spPr>
          <a:xfrm>
            <a:off x="-37977" y="-39453"/>
            <a:ext cx="12509958" cy="7085684"/>
          </a:xfrm>
          <a:prstGeom prst="rect">
            <a:avLst/>
          </a:prstGeom>
          <a:solidFill>
            <a:srgbClr val="005A9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rgbClr val="FFFFFF"/>
              </a:solidFill>
            </a:endParaRPr>
          </a:p>
        </p:txBody>
      </p:sp>
      <p:sp>
        <p:nvSpPr>
          <p:cNvPr id="15" name="Arc 14"/>
          <p:cNvSpPr/>
          <p:nvPr/>
        </p:nvSpPr>
        <p:spPr>
          <a:xfrm>
            <a:off x="5747762" y="3034150"/>
            <a:ext cx="938478" cy="938478"/>
          </a:xfrm>
          <a:prstGeom prst="arc">
            <a:avLst>
              <a:gd name="adj1" fmla="val 14618078"/>
              <a:gd name="adj2" fmla="val 3565548"/>
            </a:avLst>
          </a:prstGeom>
          <a:solidFill>
            <a:srgbClr val="005A9E"/>
          </a:solidFill>
          <a:ln w="38100">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solidFill>
                <a:srgbClr val="FFFFFF"/>
              </a:solidFill>
            </a:endParaRPr>
          </a:p>
        </p:txBody>
      </p:sp>
      <p:sp>
        <p:nvSpPr>
          <p:cNvPr id="14" name="Content Placeholder 2"/>
          <p:cNvSpPr txBox="1">
            <a:spLocks/>
          </p:cNvSpPr>
          <p:nvPr/>
        </p:nvSpPr>
        <p:spPr>
          <a:xfrm>
            <a:off x="3605303" y="4259262"/>
            <a:ext cx="5333998" cy="1532398"/>
          </a:xfrm>
          <a:prstGeom prst="rect">
            <a:avLst/>
          </a:prstGeom>
        </p:spPr>
        <p:txBody>
          <a:bodyPr>
            <a:normAutofit/>
          </a:bodyPr>
          <a:lstStyle>
            <a:lvl1pPr marL="362651" indent="-362651" algn="l" defTabSz="967069" rtl="0" eaLnBrk="1" latinLnBrk="0" hangingPunct="1">
              <a:lnSpc>
                <a:spcPct val="85000"/>
              </a:lnSpc>
              <a:spcBef>
                <a:spcPts val="2538"/>
              </a:spcBef>
              <a:spcAft>
                <a:spcPts val="0"/>
              </a:spcAft>
              <a:buClr>
                <a:srgbClr val="00B0F0"/>
              </a:buClr>
              <a:buSzPct val="100000"/>
              <a:buFont typeface="Wingdings" pitchFamily="2" charset="2"/>
              <a:buChar char="§"/>
              <a:defRPr sz="2500" kern="1200" spc="-74" baseline="0">
                <a:solidFill>
                  <a:srgbClr val="666666"/>
                </a:solidFill>
                <a:latin typeface="Segoe UI" pitchFamily="34" charset="0"/>
                <a:ea typeface="Segoe UI" pitchFamily="34" charset="0"/>
                <a:cs typeface="Segoe UI" pitchFamily="34" charset="0"/>
              </a:defRPr>
            </a:lvl1pPr>
            <a:lvl2pPr marL="785744" indent="-302209" algn="l" defTabSz="967069" rtl="0" eaLnBrk="1" latinLnBrk="0" hangingPunct="1">
              <a:lnSpc>
                <a:spcPct val="85000"/>
              </a:lnSpc>
              <a:spcBef>
                <a:spcPts val="635"/>
              </a:spcBef>
              <a:spcAft>
                <a:spcPts val="0"/>
              </a:spcAft>
              <a:buClr>
                <a:srgbClr val="00B0F0"/>
              </a:buClr>
              <a:buSzPct val="100000"/>
              <a:buFont typeface="Wingdings" pitchFamily="2" charset="2"/>
              <a:buChar char="§"/>
              <a:defRPr sz="2100" kern="1200" spc="-74" baseline="0">
                <a:solidFill>
                  <a:srgbClr val="666666"/>
                </a:solidFill>
                <a:latin typeface="Segoe UI" pitchFamily="34" charset="0"/>
                <a:ea typeface="Segoe UI" pitchFamily="34" charset="0"/>
                <a:cs typeface="Segoe UI" pitchFamily="34" charset="0"/>
              </a:defRPr>
            </a:lvl2pPr>
            <a:lvl3pPr marL="1208837" indent="-241767" algn="l" defTabSz="967069" rtl="0" eaLnBrk="1" latinLnBrk="0" hangingPunct="1">
              <a:lnSpc>
                <a:spcPct val="85000"/>
              </a:lnSpc>
              <a:spcBef>
                <a:spcPts val="635"/>
              </a:spcBef>
              <a:spcAft>
                <a:spcPts val="0"/>
              </a:spcAft>
              <a:buClr>
                <a:srgbClr val="00B0F0"/>
              </a:buClr>
              <a:buFont typeface="Wingdings" pitchFamily="2" charset="2"/>
              <a:buChar char="§"/>
              <a:defRPr sz="1900" kern="1200" spc="-74" baseline="0">
                <a:solidFill>
                  <a:srgbClr val="666666"/>
                </a:solidFill>
                <a:latin typeface="Segoe UI" pitchFamily="34" charset="0"/>
                <a:ea typeface="Segoe UI" pitchFamily="34" charset="0"/>
                <a:cs typeface="Segoe UI" pitchFamily="34" charset="0"/>
              </a:defRPr>
            </a:lvl3pPr>
            <a:lvl4pPr marL="1692372" indent="-241767" algn="l" defTabSz="967069" rtl="0" eaLnBrk="1" latinLnBrk="0" hangingPunct="1">
              <a:lnSpc>
                <a:spcPct val="85000"/>
              </a:lnSpc>
              <a:spcBef>
                <a:spcPts val="635"/>
              </a:spcBef>
              <a:spcAft>
                <a:spcPts val="0"/>
              </a:spcAft>
              <a:buClr>
                <a:srgbClr val="00B0F0"/>
              </a:buClr>
              <a:buFont typeface="Wingdings" pitchFamily="2" charset="2"/>
              <a:buChar char="§"/>
              <a:defRPr sz="1900" kern="1200" spc="-74" baseline="0">
                <a:solidFill>
                  <a:srgbClr val="666666"/>
                </a:solidFill>
                <a:latin typeface="Segoe UI" pitchFamily="34" charset="0"/>
                <a:ea typeface="Segoe UI" pitchFamily="34" charset="0"/>
                <a:cs typeface="Segoe UI" pitchFamily="34" charset="0"/>
              </a:defRPr>
            </a:lvl4pPr>
            <a:lvl5pPr marL="2175906" indent="-241767" algn="l" defTabSz="967069" rtl="0" eaLnBrk="1" latinLnBrk="0" hangingPunct="1">
              <a:lnSpc>
                <a:spcPct val="85000"/>
              </a:lnSpc>
              <a:spcBef>
                <a:spcPts val="635"/>
              </a:spcBef>
              <a:spcAft>
                <a:spcPts val="0"/>
              </a:spcAft>
              <a:buClr>
                <a:srgbClr val="00B0F0"/>
              </a:buClr>
              <a:buFont typeface="Wingdings" pitchFamily="2" charset="2"/>
              <a:buChar char="§"/>
              <a:defRPr sz="1900" kern="1200" spc="-74" baseline="0">
                <a:solidFill>
                  <a:srgbClr val="666666"/>
                </a:solidFill>
                <a:latin typeface="Segoe UI" pitchFamily="34" charset="0"/>
                <a:ea typeface="Segoe UI" pitchFamily="34" charset="0"/>
                <a:cs typeface="Segoe UI" pitchFamily="34" charset="0"/>
              </a:defRPr>
            </a:lvl5pPr>
            <a:lvl6pPr marL="2659441" indent="-241767" algn="l" defTabSz="967069"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42976" indent="-241767" algn="l" defTabSz="967069"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626510" indent="-241767" algn="l" defTabSz="967069"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110045" indent="-241767" algn="l" defTabSz="967069" rtl="0" eaLnBrk="1" latinLnBrk="0" hangingPunct="1">
              <a:spcBef>
                <a:spcPct val="20000"/>
              </a:spcBef>
              <a:buFont typeface="Arial" pitchFamily="34" charset="0"/>
              <a:buChar char="•"/>
              <a:defRPr sz="2100" kern="1200">
                <a:solidFill>
                  <a:schemeClr val="tx1"/>
                </a:solidFill>
                <a:latin typeface="+mn-lt"/>
                <a:ea typeface="+mn-ea"/>
                <a:cs typeface="+mn-cs"/>
              </a:defRPr>
            </a:lvl9pPr>
          </a:lstStyle>
          <a:p>
            <a:pPr marL="0" indent="0" algn="ctr">
              <a:buFont typeface="Wingdings" pitchFamily="2" charset="2"/>
              <a:buNone/>
            </a:pPr>
            <a:r>
              <a:rPr lang="en-US" sz="1688" spc="-30" dirty="0" smtClean="0">
                <a:solidFill>
                  <a:srgbClr val="FFFFFF"/>
                </a:solidFill>
                <a:latin typeface="Segoe UI Light" panose="020B0502040204020203" pitchFamily="34" charset="0"/>
                <a:cs typeface="Segoe UI Light" panose="020B0502040204020203" pitchFamily="34" charset="0"/>
              </a:rPr>
              <a:t>Applying changes. </a:t>
            </a:r>
            <a:r>
              <a:rPr lang="en-US" sz="1688" spc="-30" dirty="0">
                <a:solidFill>
                  <a:srgbClr val="FFFFFF"/>
                </a:solidFill>
                <a:latin typeface="Segoe UI Light" panose="020B0502040204020203" pitchFamily="34" charset="0"/>
                <a:cs typeface="Segoe UI Light" panose="020B0502040204020203" pitchFamily="34" charset="0"/>
              </a:rPr>
              <a:t>This might take a minute…</a:t>
            </a:r>
          </a:p>
        </p:txBody>
      </p:sp>
    </p:spTree>
    <p:extLst>
      <p:ext uri="{BB962C8B-B14F-4D97-AF65-F5344CB8AC3E}">
        <p14:creationId xmlns:p14="http://schemas.microsoft.com/office/powerpoint/2010/main" val="218076038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5" name="TextBox 4"/>
          <p:cNvSpPr txBox="1"/>
          <p:nvPr/>
        </p:nvSpPr>
        <p:spPr>
          <a:xfrm>
            <a:off x="882" y="-900310"/>
            <a:ext cx="12434711" cy="764616"/>
          </a:xfrm>
          <a:prstGeom prst="rect">
            <a:avLst/>
          </a:prstGeom>
          <a:solidFill>
            <a:schemeClr val="accent6">
              <a:lumMod val="75000"/>
            </a:schemeClr>
          </a:solidFill>
        </p:spPr>
        <p:txBody>
          <a:bodyPr wrap="square" lIns="93260" tIns="93260" bIns="93260" rtlCol="0">
            <a:spAutoFit/>
          </a:bodyPr>
          <a:lstStyle/>
          <a:p>
            <a:r>
              <a:rPr lang="en-US" sz="1836" dirty="0">
                <a:solidFill>
                  <a:srgbClr val="000000"/>
                </a:solidFill>
                <a:cs typeface="Segoe UI" panose="020B0502040204020203" pitchFamily="34" charset="0"/>
              </a:rPr>
              <a:t>If user enters correct PIN and press OK, we return to the spinner page which will show while the NGC container is created. This may take a few seconds.</a:t>
            </a:r>
          </a:p>
        </p:txBody>
      </p:sp>
      <p:grpSp>
        <p:nvGrpSpPr>
          <p:cNvPr id="6" name="Group 5"/>
          <p:cNvGrpSpPr/>
          <p:nvPr/>
        </p:nvGrpSpPr>
        <p:grpSpPr>
          <a:xfrm>
            <a:off x="-190601" y="-221990"/>
            <a:ext cx="12815205" cy="7943206"/>
            <a:chOff x="-187745" y="-217657"/>
            <a:chExt cx="12565067" cy="7788164"/>
          </a:xfrm>
        </p:grpSpPr>
        <p:sp>
          <p:nvSpPr>
            <p:cNvPr id="8" name="Rounded Rectangle 7"/>
            <p:cNvSpPr/>
            <p:nvPr/>
          </p:nvSpPr>
          <p:spPr>
            <a:xfrm>
              <a:off x="-187745" y="6908696"/>
              <a:ext cx="12565067" cy="661811"/>
            </a:xfrm>
            <a:prstGeom prst="roundRect">
              <a:avLst>
                <a:gd name="adj" fmla="val 12372"/>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rgbClr val="FFFFFF"/>
                </a:solidFill>
              </a:endParaRPr>
            </a:p>
          </p:txBody>
        </p:sp>
        <p:pic>
          <p:nvPicPr>
            <p:cNvPr id="9" name="Picture 8"/>
            <p:cNvPicPr>
              <a:picLocks noChangeAspect="1"/>
            </p:cNvPicPr>
            <p:nvPr/>
          </p:nvPicPr>
          <p:blipFill rotWithShape="1">
            <a:blip r:embed="rId2" cstate="print">
              <a:extLst>
                <a:ext uri="{28A0092B-C50C-407E-A947-70E740481C1C}">
                  <a14:useLocalDpi xmlns:a14="http://schemas.microsoft.com/office/drawing/2010/main" val="0"/>
                </a:ext>
              </a:extLst>
            </a:blip>
            <a:srcRect l="15890" t="13026" r="15630" b="12506"/>
            <a:stretch/>
          </p:blipFill>
          <p:spPr>
            <a:xfrm>
              <a:off x="5991714" y="6982364"/>
              <a:ext cx="419714" cy="456419"/>
            </a:xfrm>
            <a:prstGeom prst="rect">
              <a:avLst/>
            </a:prstGeom>
          </p:spPr>
        </p:pic>
        <p:sp>
          <p:nvSpPr>
            <p:cNvPr id="10" name="Rounded Rectangle 9"/>
            <p:cNvSpPr/>
            <p:nvPr/>
          </p:nvSpPr>
          <p:spPr>
            <a:xfrm>
              <a:off x="-187744" y="-217657"/>
              <a:ext cx="12565066" cy="178973"/>
            </a:xfrm>
            <a:prstGeom prst="roundRect">
              <a:avLst>
                <a:gd name="adj" fmla="val 50000"/>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rgbClr val="FFFFFF"/>
                </a:solidFill>
              </a:endParaRPr>
            </a:p>
          </p:txBody>
        </p:sp>
        <p:sp>
          <p:nvSpPr>
            <p:cNvPr id="11" name="Rounded Rectangle 10"/>
            <p:cNvSpPr/>
            <p:nvPr/>
          </p:nvSpPr>
          <p:spPr>
            <a:xfrm>
              <a:off x="-187744" y="-155574"/>
              <a:ext cx="149644" cy="7431138"/>
            </a:xfrm>
            <a:prstGeom prst="roundRect">
              <a:avLst>
                <a:gd name="adj" fmla="val 37018"/>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rgbClr val="FFFFFF"/>
                </a:solidFill>
              </a:endParaRPr>
            </a:p>
          </p:txBody>
        </p:sp>
        <p:sp>
          <p:nvSpPr>
            <p:cNvPr id="12" name="Rounded Rectangle 11"/>
            <p:cNvSpPr/>
            <p:nvPr/>
          </p:nvSpPr>
          <p:spPr>
            <a:xfrm>
              <a:off x="12227678" y="-155574"/>
              <a:ext cx="149644" cy="7431138"/>
            </a:xfrm>
            <a:prstGeom prst="roundRect">
              <a:avLst>
                <a:gd name="adj" fmla="val 37018"/>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rgbClr val="FFFFFF"/>
                </a:solidFill>
              </a:endParaRPr>
            </a:p>
          </p:txBody>
        </p:sp>
      </p:grpSp>
      <p:sp>
        <p:nvSpPr>
          <p:cNvPr id="13" name="Rectangle 12"/>
          <p:cNvSpPr/>
          <p:nvPr/>
        </p:nvSpPr>
        <p:spPr>
          <a:xfrm>
            <a:off x="-37977" y="-39453"/>
            <a:ext cx="12509958" cy="7085684"/>
          </a:xfrm>
          <a:prstGeom prst="rect">
            <a:avLst/>
          </a:prstGeom>
          <a:solidFill>
            <a:srgbClr val="005A9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rgbClr val="FFFFFF"/>
              </a:solidFill>
            </a:endParaRPr>
          </a:p>
        </p:txBody>
      </p:sp>
      <p:sp>
        <p:nvSpPr>
          <p:cNvPr id="15" name="Arc 14"/>
          <p:cNvSpPr/>
          <p:nvPr/>
        </p:nvSpPr>
        <p:spPr>
          <a:xfrm>
            <a:off x="5747762" y="3034150"/>
            <a:ext cx="938478" cy="938478"/>
          </a:xfrm>
          <a:prstGeom prst="arc">
            <a:avLst>
              <a:gd name="adj1" fmla="val 14618078"/>
              <a:gd name="adj2" fmla="val 3565548"/>
            </a:avLst>
          </a:prstGeom>
          <a:noFill/>
          <a:ln w="38100">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solidFill>
                <a:srgbClr val="FFFFFF"/>
              </a:solidFill>
            </a:endParaRPr>
          </a:p>
        </p:txBody>
      </p:sp>
      <p:grpSp>
        <p:nvGrpSpPr>
          <p:cNvPr id="2" name="Group 1"/>
          <p:cNvGrpSpPr>
            <a:grpSpLocks noChangeAspect="1"/>
          </p:cNvGrpSpPr>
          <p:nvPr/>
        </p:nvGrpSpPr>
        <p:grpSpPr>
          <a:xfrm>
            <a:off x="980801" y="178462"/>
            <a:ext cx="10690216" cy="6724127"/>
            <a:chOff x="3314179" y="959230"/>
            <a:chExt cx="6451529" cy="4058000"/>
          </a:xfrm>
        </p:grpSpPr>
        <p:grpSp>
          <p:nvGrpSpPr>
            <p:cNvPr id="22" name="Device: Tablet"/>
            <p:cNvGrpSpPr/>
            <p:nvPr/>
          </p:nvGrpSpPr>
          <p:grpSpPr>
            <a:xfrm>
              <a:off x="3314179" y="959230"/>
              <a:ext cx="6451529" cy="4058000"/>
              <a:chOff x="203236" y="1014149"/>
              <a:chExt cx="8602039" cy="5410666"/>
            </a:xfrm>
          </p:grpSpPr>
          <p:sp>
            <p:nvSpPr>
              <p:cNvPr id="23" name="Rounded Rectangle 22"/>
              <p:cNvSpPr/>
              <p:nvPr/>
            </p:nvSpPr>
            <p:spPr>
              <a:xfrm>
                <a:off x="203236" y="1014149"/>
                <a:ext cx="8602039" cy="5410666"/>
              </a:xfrm>
              <a:prstGeom prst="roundRect">
                <a:avLst>
                  <a:gd name="adj" fmla="val 191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rgbClr val="FFFFFF"/>
                  </a:solidFill>
                </a:endParaRPr>
              </a:p>
            </p:txBody>
          </p:sp>
          <p:sp>
            <p:nvSpPr>
              <p:cNvPr id="24" name="Rounded Rectangle 23"/>
              <p:cNvSpPr/>
              <p:nvPr/>
            </p:nvSpPr>
            <p:spPr>
              <a:xfrm>
                <a:off x="274432" y="1123470"/>
                <a:ext cx="8459646" cy="5192024"/>
              </a:xfrm>
              <a:prstGeom prst="roundRect">
                <a:avLst>
                  <a:gd name="adj" fmla="val 2656"/>
                </a:avLst>
              </a:prstGeom>
              <a:solidFill>
                <a:schemeClr val="tx1"/>
              </a:solidFill>
              <a:ln>
                <a:solidFill>
                  <a:srgbClr val="4F4F4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rgbClr val="FFFFFF"/>
                  </a:solidFill>
                </a:endParaRPr>
              </a:p>
            </p:txBody>
          </p:sp>
          <p:sp>
            <p:nvSpPr>
              <p:cNvPr id="25" name="Rectangle 24"/>
              <p:cNvSpPr/>
              <p:nvPr/>
            </p:nvSpPr>
            <p:spPr>
              <a:xfrm>
                <a:off x="803523" y="1574587"/>
                <a:ext cx="7401464" cy="4289791"/>
              </a:xfrm>
              <a:prstGeom prst="rect">
                <a:avLst/>
              </a:prstGeom>
              <a:solidFill>
                <a:schemeClr val="bg1"/>
              </a:solidFill>
              <a:ln>
                <a:solidFill>
                  <a:srgbClr val="4F4F4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rgbClr val="FFFFFF"/>
                  </a:solidFill>
                </a:endParaRPr>
              </a:p>
            </p:txBody>
          </p:sp>
          <p:pic>
            <p:nvPicPr>
              <p:cNvPr id="26" name="Picture 25"/>
              <p:cNvPicPr>
                <a:picLocks noChangeAspect="1"/>
              </p:cNvPicPr>
              <p:nvPr/>
            </p:nvPicPr>
            <p:blipFill>
              <a:blip r:embed="rId3" cstate="print">
                <a:duotone>
                  <a:prstClr val="black"/>
                  <a:schemeClr val="tx1">
                    <a:tint val="45000"/>
                    <a:satMod val="400000"/>
                  </a:schemeClr>
                </a:duotone>
                <a:extLst>
                  <a:ext uri="{28A0092B-C50C-407E-A947-70E740481C1C}">
                    <a14:useLocalDpi xmlns:a14="http://schemas.microsoft.com/office/drawing/2010/main" val="0"/>
                  </a:ext>
                </a:extLst>
              </a:blip>
              <a:stretch>
                <a:fillRect/>
              </a:stretch>
            </p:blipFill>
            <p:spPr>
              <a:xfrm>
                <a:off x="8285463" y="3503342"/>
                <a:ext cx="364801" cy="419632"/>
              </a:xfrm>
              <a:prstGeom prst="rect">
                <a:avLst/>
              </a:prstGeom>
            </p:spPr>
          </p:pic>
          <p:sp>
            <p:nvSpPr>
              <p:cNvPr id="27" name="TextBox 26"/>
              <p:cNvSpPr txBox="1"/>
              <p:nvPr/>
            </p:nvSpPr>
            <p:spPr>
              <a:xfrm>
                <a:off x="5356912" y="1359144"/>
                <a:ext cx="2935429" cy="246221"/>
              </a:xfrm>
              <a:prstGeom prst="rect">
                <a:avLst/>
              </a:prstGeom>
              <a:noFill/>
            </p:spPr>
            <p:txBody>
              <a:bodyPr wrap="square" rtlCol="0">
                <a:spAutoFit/>
              </a:bodyPr>
              <a:lstStyle/>
              <a:p>
                <a:pPr algn="r"/>
                <a:r>
                  <a:rPr lang="en-US" sz="600" dirty="0">
                    <a:solidFill>
                      <a:prstClr val="white">
                        <a:lumMod val="50000"/>
                      </a:prstClr>
                    </a:solidFill>
                    <a:ea typeface="Segoe UI Semilight" pitchFamily="34" charset="0"/>
                    <a:cs typeface="Segoe UI" panose="020B0502040204020203" pitchFamily="34" charset="0"/>
                  </a:rPr>
                  <a:t>Surface</a:t>
                </a:r>
              </a:p>
            </p:txBody>
          </p:sp>
          <p:pic>
            <p:nvPicPr>
              <p:cNvPr id="28" name="Picture 27" descr="Screen Clippi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313728" y="1280581"/>
                <a:ext cx="381053" cy="142895"/>
              </a:xfrm>
              <a:prstGeom prst="rect">
                <a:avLst/>
              </a:prstGeom>
            </p:spPr>
          </p:pic>
        </p:grpSp>
        <p:pic>
          <p:nvPicPr>
            <p:cNvPr id="29" name="Picture 28"/>
            <p:cNvPicPr>
              <a:picLocks noChangeAspect="1"/>
            </p:cNvPicPr>
            <p:nvPr/>
          </p:nvPicPr>
          <p:blipFill>
            <a:blip r:embed="rId5"/>
            <a:stretch>
              <a:fillRect/>
            </a:stretch>
          </p:blipFill>
          <p:spPr>
            <a:xfrm>
              <a:off x="3753924" y="1367856"/>
              <a:ext cx="5581804" cy="3238736"/>
            </a:xfrm>
            <a:prstGeom prst="rect">
              <a:avLst/>
            </a:prstGeom>
          </p:spPr>
        </p:pic>
      </p:grpSp>
      <p:pic>
        <p:nvPicPr>
          <p:cNvPr id="3" name="Picture 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82" y="0"/>
            <a:ext cx="12434711" cy="6994525"/>
          </a:xfrm>
          <a:prstGeom prst="rect">
            <a:avLst/>
          </a:prstGeom>
        </p:spPr>
      </p:pic>
    </p:spTree>
    <p:extLst>
      <p:ext uri="{BB962C8B-B14F-4D97-AF65-F5344CB8AC3E}">
        <p14:creationId xmlns:p14="http://schemas.microsoft.com/office/powerpoint/2010/main" val="56842649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0" y="387426"/>
            <a:ext cx="12431568" cy="6379645"/>
            <a:chOff x="1555222" y="1213044"/>
            <a:chExt cx="9326033" cy="4785943"/>
          </a:xfrm>
        </p:grpSpPr>
        <p:sp>
          <p:nvSpPr>
            <p:cNvPr id="29" name="Rectangle 28"/>
            <p:cNvSpPr/>
            <p:nvPr/>
          </p:nvSpPr>
          <p:spPr>
            <a:xfrm>
              <a:off x="1817236" y="1213044"/>
              <a:ext cx="5623874" cy="531049"/>
            </a:xfrm>
            <a:prstGeom prst="rect">
              <a:avLst/>
            </a:prstGeom>
          </p:spPr>
          <p:txBody>
            <a:bodyPr wrap="none">
              <a:spAutoFit/>
            </a:bodyPr>
            <a:lstStyle/>
            <a:p>
              <a:r>
                <a:rPr lang="en-US" sz="4000" b="1" dirty="0" smtClean="0">
                  <a:solidFill>
                    <a:srgbClr val="00B0F0"/>
                  </a:solidFill>
                </a:rPr>
                <a:t>Password theft is today’s crisis</a:t>
              </a:r>
              <a:endParaRPr lang="en-US" sz="6600" dirty="0">
                <a:solidFill>
                  <a:srgbClr val="00B0F0"/>
                </a:solidFill>
              </a:endParaRPr>
            </a:p>
          </p:txBody>
        </p:sp>
        <p:pic>
          <p:nvPicPr>
            <p:cNvPr id="31" name="Picture 30"/>
            <p:cNvPicPr>
              <a:picLocks noChangeAspect="1"/>
            </p:cNvPicPr>
            <p:nvPr/>
          </p:nvPicPr>
          <p:blipFill rotWithShape="1">
            <a:blip r:embed="rId3">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l="165" t="16381" r="332" b="33484"/>
            <a:stretch/>
          </p:blipFill>
          <p:spPr>
            <a:xfrm>
              <a:off x="1555222" y="2015216"/>
              <a:ext cx="9326033" cy="3497482"/>
            </a:xfrm>
            <a:prstGeom prst="rect">
              <a:avLst/>
            </a:prstGeom>
            <a:noFill/>
            <a:ln>
              <a:noFill/>
            </a:ln>
          </p:spPr>
        </p:pic>
        <p:sp>
          <p:nvSpPr>
            <p:cNvPr id="32" name="Rectangle 31"/>
            <p:cNvSpPr/>
            <p:nvPr/>
          </p:nvSpPr>
          <p:spPr>
            <a:xfrm>
              <a:off x="1555222" y="2157574"/>
              <a:ext cx="9326033" cy="3355123"/>
            </a:xfrm>
            <a:prstGeom prst="rect">
              <a:avLst/>
            </a:prstGeom>
            <a:gradFill>
              <a:gsLst>
                <a:gs pos="0">
                  <a:schemeClr val="tx1">
                    <a:lumMod val="95000"/>
                    <a:lumOff val="5000"/>
                    <a:alpha val="0"/>
                  </a:schemeClr>
                </a:gs>
                <a:gs pos="82000">
                  <a:srgbClr val="0D0D0D">
                    <a:alpha val="82000"/>
                  </a:srgbClr>
                </a:gs>
                <a:gs pos="100000">
                  <a:schemeClr val="tx1">
                    <a:lumMod val="95000"/>
                    <a:lumOff val="5000"/>
                  </a:schemeClr>
                </a:gs>
              </a:gsLst>
              <a:lin ang="54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274281" numCol="1" spcCol="0" rtlCol="0" fromWordArt="0" anchor="b" anchorCtr="0" forceAA="0" compatLnSpc="1">
              <a:prstTxWarp prst="textNoShape">
                <a:avLst/>
              </a:prstTxWarp>
              <a:noAutofit/>
            </a:bodyPr>
            <a:lstStyle/>
            <a:p>
              <a:pPr algn="r"/>
              <a:endParaRPr lang="en-US" dirty="0">
                <a:solidFill>
                  <a:srgbClr val="FFFFFF"/>
                </a:solidFill>
              </a:endParaRPr>
            </a:p>
          </p:txBody>
        </p:sp>
        <p:sp>
          <p:nvSpPr>
            <p:cNvPr id="33" name="Rectangular Callout 32"/>
            <p:cNvSpPr/>
            <p:nvPr/>
          </p:nvSpPr>
          <p:spPr>
            <a:xfrm flipH="1">
              <a:off x="6514916" y="2432880"/>
              <a:ext cx="4050896" cy="2333076"/>
            </a:xfrm>
            <a:prstGeom prst="wedgeRectCallout">
              <a:avLst>
                <a:gd name="adj1" fmla="val -8580"/>
                <a:gd name="adj2" fmla="val 68413"/>
              </a:avLst>
            </a:prstGeom>
            <a:solidFill>
              <a:srgbClr val="00B0F0"/>
            </a:solidFill>
            <a:ln w="571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281" tIns="342851" rIns="205711" bIns="34285" numCol="1" spcCol="0" rtlCol="0" fromWordArt="0" anchor="t" anchorCtr="0" forceAA="0" compatLnSpc="1">
              <a:prstTxWarp prst="textNoShape">
                <a:avLst/>
              </a:prstTxWarp>
              <a:noAutofit/>
            </a:bodyPr>
            <a:lstStyle/>
            <a:p>
              <a:pPr marL="83336" indent="-83336"/>
              <a:r>
                <a:rPr lang="en-US" sz="2400" dirty="0">
                  <a:solidFill>
                    <a:srgbClr val="FFFFFF"/>
                  </a:solidFill>
                  <a:latin typeface="Segoe UI Light"/>
                </a:rPr>
                <a:t>“…Hackers hit some 420,000 Web addresses for both large and small sites.” … “including leaders in virtually all industries across the world, as well as a multitude of small or even personal websites,”</a:t>
              </a:r>
            </a:p>
          </p:txBody>
        </p:sp>
        <p:sp>
          <p:nvSpPr>
            <p:cNvPr id="11" name="Rectangle 10"/>
            <p:cNvSpPr/>
            <p:nvPr/>
          </p:nvSpPr>
          <p:spPr>
            <a:xfrm>
              <a:off x="1919475" y="2519578"/>
              <a:ext cx="4329149" cy="1316077"/>
            </a:xfrm>
            <a:prstGeom prst="rect">
              <a:avLst/>
            </a:prstGeom>
          </p:spPr>
          <p:txBody>
            <a:bodyPr wrap="square">
              <a:spAutoFit/>
            </a:bodyPr>
            <a:lstStyle/>
            <a:p>
              <a:r>
                <a:rPr lang="en-US" sz="3600" b="1" dirty="0">
                  <a:solidFill>
                    <a:srgbClr val="FFFFFF"/>
                  </a:solidFill>
                  <a:latin typeface="Segoe UI Semibold" panose="020B0702040204020203" pitchFamily="34" charset="0"/>
                  <a:cs typeface="Segoe UI Semibold" panose="020B0702040204020203" pitchFamily="34" charset="0"/>
                </a:rPr>
                <a:t>Hackers Steal 1.2 Billion Usernames and Passwords, Security Firm Says </a:t>
              </a:r>
            </a:p>
          </p:txBody>
        </p:sp>
        <p:sp>
          <p:nvSpPr>
            <p:cNvPr id="10" name="Rectangle 9"/>
            <p:cNvSpPr/>
            <p:nvPr/>
          </p:nvSpPr>
          <p:spPr>
            <a:xfrm>
              <a:off x="1919473" y="5825819"/>
              <a:ext cx="5521638" cy="173168"/>
            </a:xfrm>
            <a:prstGeom prst="rect">
              <a:avLst/>
            </a:prstGeom>
          </p:spPr>
          <p:txBody>
            <a:bodyPr wrap="square">
              <a:spAutoFit/>
            </a:bodyPr>
            <a:lstStyle/>
            <a:p>
              <a:r>
                <a:rPr lang="en-US" sz="900" dirty="0">
                  <a:solidFill>
                    <a:srgbClr val="FFFFFF">
                      <a:lumMod val="85000"/>
                    </a:srgbClr>
                  </a:solidFill>
                </a:rPr>
                <a:t>Source: “</a:t>
              </a:r>
              <a:r>
                <a:rPr lang="en-US" sz="900" dirty="0">
                  <a:solidFill>
                    <a:srgbClr val="FFFFFF">
                      <a:lumMod val="85000"/>
                    </a:srgbClr>
                  </a:solidFill>
                  <a:hlinkClick r:id="rId5"/>
                </a:rPr>
                <a:t>Russian Hackers Steal 1.2 Billion Usernames…” </a:t>
              </a:r>
              <a:r>
                <a:rPr lang="en-US" sz="900" dirty="0">
                  <a:solidFill>
                    <a:srgbClr val="FFFFFF">
                      <a:lumMod val="85000"/>
                    </a:srgbClr>
                  </a:solidFill>
                </a:rPr>
                <a:t>Wall Street Journal, August 5, 2014</a:t>
              </a:r>
            </a:p>
          </p:txBody>
        </p:sp>
        <p:sp>
          <p:nvSpPr>
            <p:cNvPr id="13" name="Rectangle 12"/>
            <p:cNvSpPr/>
            <p:nvPr/>
          </p:nvSpPr>
          <p:spPr>
            <a:xfrm>
              <a:off x="1919474" y="4349631"/>
              <a:ext cx="3876619" cy="941711"/>
            </a:xfrm>
            <a:prstGeom prst="rect">
              <a:avLst/>
            </a:prstGeom>
          </p:spPr>
          <p:txBody>
            <a:bodyPr wrap="square">
              <a:spAutoFit/>
            </a:bodyPr>
            <a:lstStyle/>
            <a:p>
              <a:r>
                <a:rPr lang="en-US" sz="1350" dirty="0">
                  <a:solidFill>
                    <a:srgbClr val="FFFFFF"/>
                  </a:solidFill>
                  <a:latin typeface="Segoe UI Semibold" panose="020B0702040204020203" pitchFamily="34" charset="0"/>
                  <a:cs typeface="Segoe UI Semibold" panose="020B0702040204020203" pitchFamily="34" charset="0"/>
                </a:rPr>
                <a:t>Danny </a:t>
              </a:r>
              <a:r>
                <a:rPr lang="en-US" sz="1350" dirty="0" err="1">
                  <a:solidFill>
                    <a:srgbClr val="FFFFFF"/>
                  </a:solidFill>
                  <a:latin typeface="Segoe UI Semibold" panose="020B0702040204020203" pitchFamily="34" charset="0"/>
                  <a:cs typeface="Segoe UI Semibold" panose="020B0702040204020203" pitchFamily="34" charset="0"/>
                </a:rPr>
                <a:t>Yadron</a:t>
              </a:r>
              <a:endParaRPr lang="en-US" sz="1350" dirty="0">
                <a:solidFill>
                  <a:srgbClr val="FFFFFF"/>
                </a:solidFill>
                <a:latin typeface="Segoe UI Semibold" panose="020B0702040204020203" pitchFamily="34" charset="0"/>
                <a:cs typeface="Segoe UI Semibold" panose="020B0702040204020203" pitchFamily="34" charset="0"/>
              </a:endParaRPr>
            </a:p>
            <a:p>
              <a:r>
                <a:rPr lang="en-US" sz="1350" dirty="0">
                  <a:solidFill>
                    <a:srgbClr val="FFFFFF"/>
                  </a:solidFill>
                  <a:latin typeface="Segoe UI Semibold" panose="020B0702040204020203" pitchFamily="34" charset="0"/>
                  <a:cs typeface="Segoe UI Semibold" panose="020B0702040204020203" pitchFamily="34" charset="0"/>
                </a:rPr>
                <a:t>Wall Street Journal</a:t>
              </a:r>
            </a:p>
            <a:p>
              <a:endParaRPr lang="en-US" sz="1350" dirty="0">
                <a:solidFill>
                  <a:srgbClr val="FFFFFF"/>
                </a:solidFill>
                <a:latin typeface="Segoe UI Semibold" panose="020B0702040204020203" pitchFamily="34" charset="0"/>
                <a:cs typeface="Segoe UI Semibold" panose="020B0702040204020203" pitchFamily="34" charset="0"/>
              </a:endParaRPr>
            </a:p>
            <a:p>
              <a:r>
                <a:rPr lang="en-US" sz="1350" dirty="0">
                  <a:solidFill>
                    <a:srgbClr val="FFFFFF"/>
                  </a:solidFill>
                  <a:latin typeface="Segoe UI Semibold" panose="020B0702040204020203" pitchFamily="34" charset="0"/>
                  <a:cs typeface="Segoe UI Semibold" panose="020B0702040204020203" pitchFamily="34" charset="0"/>
                </a:rPr>
                <a:t>August 5, 2014</a:t>
              </a:r>
            </a:p>
          </p:txBody>
        </p:sp>
      </p:grpSp>
    </p:spTree>
    <p:extLst>
      <p:ext uri="{BB962C8B-B14F-4D97-AF65-F5344CB8AC3E}">
        <p14:creationId xmlns:p14="http://schemas.microsoft.com/office/powerpoint/2010/main" val="282970273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showMasterSp="0">
  <p:cSld>
    <p:bg>
      <p:bgPr>
        <a:solidFill>
          <a:srgbClr val="505050"/>
        </a:solidFill>
        <a:effectLst/>
      </p:bgPr>
    </p:bg>
    <p:spTree>
      <p:nvGrpSpPr>
        <p:cNvPr id="1" name=""/>
        <p:cNvGrpSpPr/>
        <p:nvPr/>
      </p:nvGrpSpPr>
      <p:grpSpPr>
        <a:xfrm>
          <a:off x="0" y="0"/>
          <a:ext cx="0" cy="0"/>
          <a:chOff x="0" y="0"/>
          <a:chExt cx="0" cy="0"/>
        </a:xfrm>
      </p:grpSpPr>
      <p:sp>
        <p:nvSpPr>
          <p:cNvPr id="192" name="Freeform 10"/>
          <p:cNvSpPr>
            <a:spLocks noEditPoints="1"/>
          </p:cNvSpPr>
          <p:nvPr/>
        </p:nvSpPr>
        <p:spPr bwMode="black">
          <a:xfrm>
            <a:off x="6903823" y="814192"/>
            <a:ext cx="3026120" cy="2522868"/>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chemeClr val="accent2">
              <a:lumMod val="60000"/>
              <a:lumOff val="40000"/>
            </a:schemeClr>
          </a:solidFill>
          <a:ln>
            <a:noFill/>
          </a:ln>
          <a:extLst/>
        </p:spPr>
        <p:txBody>
          <a:bodyPr vert="horz" wrap="square" lIns="69917" tIns="34958" rIns="69917" bIns="34958" numCol="1" anchor="t" anchorCtr="0" compatLnSpc="1">
            <a:prstTxWarp prst="textNoShape">
              <a:avLst/>
            </a:prstTxWarp>
          </a:bodyPr>
          <a:lstStyle/>
          <a:p>
            <a:pPr defTabSz="932597"/>
            <a:endParaRPr lang="en-US" sz="2000">
              <a:solidFill>
                <a:srgbClr val="0078D7">
                  <a:lumMod val="75000"/>
                </a:srgbClr>
              </a:solidFill>
            </a:endParaRPr>
          </a:p>
        </p:txBody>
      </p:sp>
      <p:sp>
        <p:nvSpPr>
          <p:cNvPr id="98" name="Freeform 128"/>
          <p:cNvSpPr>
            <a:spLocks noChangeAspect="1"/>
          </p:cNvSpPr>
          <p:nvPr/>
        </p:nvSpPr>
        <p:spPr bwMode="black">
          <a:xfrm>
            <a:off x="2821875" y="290335"/>
            <a:ext cx="5615189" cy="308792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2">
              <a:lumMod val="60000"/>
              <a:lumOff val="40000"/>
            </a:schemeClr>
          </a:solidFill>
          <a:ln w="76200">
            <a:solidFill>
              <a:schemeClr val="accent2"/>
            </a:solidFill>
          </a:ln>
          <a:extLst/>
        </p:spPr>
        <p:txBody>
          <a:bodyPr vert="horz" wrap="square" lIns="68543" tIns="34272" rIns="68543" bIns="34272" numCol="1" anchor="t" anchorCtr="0" compatLnSpc="1">
            <a:prstTxWarp prst="textNoShape">
              <a:avLst/>
            </a:prstTxWarp>
          </a:bodyPr>
          <a:lstStyle/>
          <a:p>
            <a:pPr defTabSz="699037"/>
            <a:endParaRPr lang="en-US">
              <a:solidFill>
                <a:srgbClr val="0078D7">
                  <a:lumMod val="75000"/>
                </a:srgbClr>
              </a:solidFill>
            </a:endParaRPr>
          </a:p>
        </p:txBody>
      </p:sp>
      <p:grpSp>
        <p:nvGrpSpPr>
          <p:cNvPr id="2" name="Group 1"/>
          <p:cNvGrpSpPr/>
          <p:nvPr/>
        </p:nvGrpSpPr>
        <p:grpSpPr>
          <a:xfrm>
            <a:off x="6123331" y="834413"/>
            <a:ext cx="1618906" cy="1432773"/>
            <a:chOff x="6153305" y="1104296"/>
            <a:chExt cx="1618906" cy="1432773"/>
          </a:xfrm>
        </p:grpSpPr>
        <p:grpSp>
          <p:nvGrpSpPr>
            <p:cNvPr id="80" name="Group 4"/>
            <p:cNvGrpSpPr>
              <a:grpSpLocks noChangeAspect="1"/>
            </p:cNvGrpSpPr>
            <p:nvPr/>
          </p:nvGrpSpPr>
          <p:grpSpPr bwMode="auto">
            <a:xfrm>
              <a:off x="6845958" y="1831731"/>
              <a:ext cx="709814" cy="705338"/>
              <a:chOff x="3125" y="1415"/>
              <a:chExt cx="1586" cy="1576"/>
            </a:xfrm>
            <a:solidFill>
              <a:schemeClr val="tx2"/>
            </a:solidFill>
          </p:grpSpPr>
          <p:sp>
            <p:nvSpPr>
              <p:cNvPr id="83" name="Freeform 5"/>
              <p:cNvSpPr>
                <a:spLocks/>
              </p:cNvSpPr>
              <p:nvPr/>
            </p:nvSpPr>
            <p:spPr bwMode="auto">
              <a:xfrm>
                <a:off x="3942" y="2006"/>
                <a:ext cx="273" cy="494"/>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35" tIns="34968" rIns="69935" bIns="34968" numCol="1" anchor="t" anchorCtr="0" compatLnSpc="1">
                <a:prstTxWarp prst="textNoShape">
                  <a:avLst/>
                </a:prstTxWarp>
              </a:bodyPr>
              <a:lstStyle/>
              <a:p>
                <a:pPr defTabSz="932597"/>
                <a:endParaRPr lang="en-US">
                  <a:solidFill>
                    <a:srgbClr val="0078D7">
                      <a:lumMod val="75000"/>
                    </a:srgbClr>
                  </a:solidFill>
                </a:endParaRPr>
              </a:p>
            </p:txBody>
          </p:sp>
          <p:sp>
            <p:nvSpPr>
              <p:cNvPr id="84" name="Freeform 6"/>
              <p:cNvSpPr>
                <a:spLocks/>
              </p:cNvSpPr>
              <p:nvPr/>
            </p:nvSpPr>
            <p:spPr bwMode="auto">
              <a:xfrm>
                <a:off x="3600" y="2013"/>
                <a:ext cx="275" cy="487"/>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35" tIns="34968" rIns="69935" bIns="34968" numCol="1" anchor="t" anchorCtr="0" compatLnSpc="1">
                <a:prstTxWarp prst="textNoShape">
                  <a:avLst/>
                </a:prstTxWarp>
              </a:bodyPr>
              <a:lstStyle/>
              <a:p>
                <a:pPr defTabSz="932597"/>
                <a:endParaRPr lang="en-US">
                  <a:solidFill>
                    <a:srgbClr val="0078D7">
                      <a:lumMod val="75000"/>
                    </a:srgbClr>
                  </a:solidFill>
                </a:endParaRPr>
              </a:p>
            </p:txBody>
          </p:sp>
          <p:sp>
            <p:nvSpPr>
              <p:cNvPr id="85" name="Freeform 7"/>
              <p:cNvSpPr>
                <a:spLocks noEditPoints="1"/>
              </p:cNvSpPr>
              <p:nvPr/>
            </p:nvSpPr>
            <p:spPr bwMode="auto">
              <a:xfrm>
                <a:off x="3125" y="1415"/>
                <a:ext cx="1586" cy="1576"/>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35" tIns="34968" rIns="69935" bIns="34968" numCol="1" anchor="t" anchorCtr="0" compatLnSpc="1">
                <a:prstTxWarp prst="textNoShape">
                  <a:avLst/>
                </a:prstTxWarp>
              </a:bodyPr>
              <a:lstStyle/>
              <a:p>
                <a:pPr defTabSz="932597"/>
                <a:endParaRPr lang="en-US">
                  <a:solidFill>
                    <a:srgbClr val="0078D7">
                      <a:lumMod val="75000"/>
                    </a:srgbClr>
                  </a:solidFill>
                </a:endParaRPr>
              </a:p>
            </p:txBody>
          </p:sp>
        </p:grpSp>
        <p:grpSp>
          <p:nvGrpSpPr>
            <p:cNvPr id="22" name="Group 21"/>
            <p:cNvGrpSpPr/>
            <p:nvPr/>
          </p:nvGrpSpPr>
          <p:grpSpPr>
            <a:xfrm>
              <a:off x="6153305" y="1104296"/>
              <a:ext cx="1618906" cy="548029"/>
              <a:chOff x="7514504" y="663534"/>
              <a:chExt cx="2158848" cy="730808"/>
            </a:xfrm>
          </p:grpSpPr>
          <p:sp>
            <p:nvSpPr>
              <p:cNvPr id="81" name="Rectangle 80"/>
              <p:cNvSpPr/>
              <p:nvPr/>
            </p:nvSpPr>
            <p:spPr>
              <a:xfrm>
                <a:off x="7514504" y="1024958"/>
                <a:ext cx="2158848" cy="369384"/>
              </a:xfrm>
              <a:prstGeom prst="rect">
                <a:avLst/>
              </a:prstGeom>
              <a:ln>
                <a:noFill/>
              </a:ln>
            </p:spPr>
            <p:txBody>
              <a:bodyPr wrap="none" lIns="0" tIns="0" rIns="0" bIns="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855521"/>
                <a:r>
                  <a:rPr lang="en-US" dirty="0">
                    <a:ln>
                      <a:solidFill>
                        <a:srgbClr val="FFFFFF">
                          <a:alpha val="0"/>
                        </a:srgbClr>
                      </a:solidFill>
                    </a:ln>
                    <a:solidFill>
                      <a:srgbClr val="0078D7">
                        <a:lumMod val="75000"/>
                      </a:srgbClr>
                    </a:solidFill>
                  </a:rPr>
                  <a:t>Active Directory</a:t>
                </a:r>
              </a:p>
            </p:txBody>
          </p:sp>
          <p:pic>
            <p:nvPicPr>
              <p:cNvPr id="82" name="Picture 8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660479" y="663534"/>
                <a:ext cx="1920070" cy="445184"/>
              </a:xfrm>
              <a:prstGeom prst="rect">
                <a:avLst/>
              </a:prstGeom>
            </p:spPr>
          </p:pic>
        </p:grpSp>
      </p:grpSp>
      <p:sp>
        <p:nvSpPr>
          <p:cNvPr id="72" name="Rectangle 71"/>
          <p:cNvSpPr/>
          <p:nvPr/>
        </p:nvSpPr>
        <p:spPr>
          <a:xfrm>
            <a:off x="5629470" y="4505596"/>
            <a:ext cx="2483052" cy="984885"/>
          </a:xfrm>
          <a:prstGeom prst="rect">
            <a:avLst/>
          </a:prstGeom>
        </p:spPr>
        <p:txBody>
          <a:bodyPr wrap="none" lIns="0" tIns="0" rIns="0" bIns="0" anchor="b">
            <a:spAutoFit/>
          </a:bodyPr>
          <a:lstStyle/>
          <a:p>
            <a:pPr algn="ctr" defTabSz="838560"/>
            <a:r>
              <a:rPr lang="en-US" sz="1600" dirty="0">
                <a:ln>
                  <a:solidFill>
                    <a:srgbClr val="FFFFFF">
                      <a:alpha val="0"/>
                    </a:srgbClr>
                  </a:solidFill>
                </a:ln>
                <a:solidFill>
                  <a:srgbClr val="FFFFFF"/>
                </a:solidFill>
              </a:rPr>
              <a:t>Windows 10</a:t>
            </a:r>
          </a:p>
          <a:p>
            <a:pPr algn="ctr" defTabSz="838560"/>
            <a:r>
              <a:rPr lang="en-US" sz="1600" dirty="0">
                <a:ln>
                  <a:solidFill>
                    <a:srgbClr val="FFFFFF">
                      <a:alpha val="0"/>
                    </a:srgbClr>
                  </a:solidFill>
                </a:ln>
                <a:solidFill>
                  <a:srgbClr val="FFFFFF"/>
                </a:solidFill>
              </a:rPr>
              <a:t>Azure AD Joined or </a:t>
            </a:r>
          </a:p>
          <a:p>
            <a:pPr algn="ctr" defTabSz="838560"/>
            <a:r>
              <a:rPr lang="en-US" sz="1600" dirty="0">
                <a:ln>
                  <a:solidFill>
                    <a:srgbClr val="FFFFFF">
                      <a:alpha val="0"/>
                    </a:srgbClr>
                  </a:solidFill>
                </a:ln>
                <a:solidFill>
                  <a:srgbClr val="FFFFFF"/>
                </a:solidFill>
              </a:rPr>
              <a:t>Domain Joined or</a:t>
            </a:r>
          </a:p>
          <a:p>
            <a:pPr algn="ctr" defTabSz="838560"/>
            <a:r>
              <a:rPr lang="en-US" sz="1600" dirty="0">
                <a:ln>
                  <a:solidFill>
                    <a:srgbClr val="FFFFFF">
                      <a:alpha val="0"/>
                    </a:srgbClr>
                  </a:solidFill>
                </a:ln>
                <a:solidFill>
                  <a:srgbClr val="FFFFFF"/>
                </a:solidFill>
              </a:rPr>
              <a:t>BYOD + Add Work </a:t>
            </a:r>
            <a:r>
              <a:rPr lang="en-US" sz="1600" dirty="0" smtClean="0">
                <a:ln>
                  <a:solidFill>
                    <a:srgbClr val="FFFFFF">
                      <a:alpha val="0"/>
                    </a:srgbClr>
                  </a:solidFill>
                </a:ln>
                <a:solidFill>
                  <a:srgbClr val="FFFFFF"/>
                </a:solidFill>
              </a:rPr>
              <a:t>Account</a:t>
            </a:r>
            <a:endParaRPr lang="en-US" sz="1600" dirty="0">
              <a:ln>
                <a:solidFill>
                  <a:srgbClr val="FFFFFF">
                    <a:alpha val="0"/>
                  </a:srgbClr>
                </a:solidFill>
              </a:ln>
              <a:solidFill>
                <a:srgbClr val="FFFFFF"/>
              </a:solidFill>
            </a:endParaRPr>
          </a:p>
        </p:txBody>
      </p:sp>
      <p:sp>
        <p:nvSpPr>
          <p:cNvPr id="115" name="Freeform 20"/>
          <p:cNvSpPr>
            <a:spLocks noEditPoints="1"/>
          </p:cNvSpPr>
          <p:nvPr/>
        </p:nvSpPr>
        <p:spPr bwMode="black">
          <a:xfrm>
            <a:off x="7229375" y="4117895"/>
            <a:ext cx="675005" cy="445878"/>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chemeClr val="tx1"/>
          </a:solidFill>
          <a:extLst/>
        </p:spPr>
        <p:txBody>
          <a:bodyPr vert="horz" wrap="square" lIns="62932" tIns="31466" rIns="62932" bIns="31466" numCol="1" anchor="t" anchorCtr="0" compatLnSpc="1">
            <a:prstTxWarp prst="textNoShape">
              <a:avLst/>
            </a:prstTxWarp>
          </a:bodyPr>
          <a:lstStyle/>
          <a:p>
            <a:pPr defTabSz="713089"/>
            <a:endParaRPr lang="en-US" sz="1000" dirty="0">
              <a:solidFill>
                <a:srgbClr val="0078D7">
                  <a:lumMod val="75000"/>
                </a:srgbClr>
              </a:solidFill>
            </a:endParaRPr>
          </a:p>
        </p:txBody>
      </p:sp>
      <p:pic>
        <p:nvPicPr>
          <p:cNvPr id="126" name="Picture 125"/>
          <p:cNvPicPr>
            <a:picLocks noChangeAspect="1"/>
          </p:cNvPicPr>
          <p:nvPr/>
        </p:nvPicPr>
        <p:blipFill>
          <a:blip r:embed="rId5" cstate="screen">
            <a:extLst>
              <a:ext uri="{BEBA8EAE-BF5A-486C-A8C5-ECC9F3942E4B}">
                <a14:imgProps xmlns:a14="http://schemas.microsoft.com/office/drawing/2010/main">
                  <a14:imgLayer r:embed="rId6">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6925917" y="3995920"/>
            <a:ext cx="270480" cy="488792"/>
          </a:xfrm>
          <a:prstGeom prst="rect">
            <a:avLst/>
          </a:prstGeom>
          <a:solidFill>
            <a:srgbClr val="0070C0"/>
          </a:solidFill>
          <a:ln>
            <a:noFill/>
          </a:ln>
        </p:spPr>
      </p:pic>
      <p:sp>
        <p:nvSpPr>
          <p:cNvPr id="131" name="Rounded Rectangle 2"/>
          <p:cNvSpPr>
            <a:spLocks noChangeAspect="1"/>
          </p:cNvSpPr>
          <p:nvPr/>
        </p:nvSpPr>
        <p:spPr>
          <a:xfrm>
            <a:off x="6588930" y="4200955"/>
            <a:ext cx="238136" cy="320953"/>
          </a:xfrm>
          <a:custGeom>
            <a:avLst/>
            <a:gdLst/>
            <a:ahLst/>
            <a:cxnLst/>
            <a:rect l="l" t="t" r="r" b="b"/>
            <a:pathLst>
              <a:path w="972859" h="1315152">
                <a:moveTo>
                  <a:pt x="481193" y="1210796"/>
                </a:moveTo>
                <a:cubicBezTo>
                  <a:pt x="460084" y="1210796"/>
                  <a:pt x="442971" y="1227887"/>
                  <a:pt x="442971" y="1248969"/>
                </a:cubicBezTo>
                <a:cubicBezTo>
                  <a:pt x="442971" y="1270051"/>
                  <a:pt x="460084" y="1287142"/>
                  <a:pt x="481193" y="1287142"/>
                </a:cubicBezTo>
                <a:cubicBezTo>
                  <a:pt x="502302" y="1287142"/>
                  <a:pt x="519415" y="1270051"/>
                  <a:pt x="519415" y="1248969"/>
                </a:cubicBezTo>
                <a:cubicBezTo>
                  <a:pt x="519415" y="1227887"/>
                  <a:pt x="502302" y="1210796"/>
                  <a:pt x="481193" y="1210796"/>
                </a:cubicBezTo>
                <a:close/>
                <a:moveTo>
                  <a:pt x="124209" y="103179"/>
                </a:moveTo>
                <a:lnTo>
                  <a:pt x="124209" y="1173063"/>
                </a:lnTo>
                <a:lnTo>
                  <a:pt x="855062" y="1173063"/>
                </a:lnTo>
                <a:lnTo>
                  <a:pt x="855062" y="103179"/>
                </a:lnTo>
                <a:close/>
                <a:moveTo>
                  <a:pt x="50054" y="0"/>
                </a:moveTo>
                <a:lnTo>
                  <a:pt x="922805" y="0"/>
                </a:lnTo>
                <a:cubicBezTo>
                  <a:pt x="950449" y="0"/>
                  <a:pt x="972859" y="22410"/>
                  <a:pt x="972859" y="50054"/>
                </a:cubicBezTo>
                <a:lnTo>
                  <a:pt x="972859" y="1265098"/>
                </a:lnTo>
                <a:cubicBezTo>
                  <a:pt x="972859" y="1292742"/>
                  <a:pt x="950449" y="1315152"/>
                  <a:pt x="922805" y="1315152"/>
                </a:cubicBezTo>
                <a:lnTo>
                  <a:pt x="50054" y="1315152"/>
                </a:lnTo>
                <a:cubicBezTo>
                  <a:pt x="22410" y="1315152"/>
                  <a:pt x="0" y="1292742"/>
                  <a:pt x="0" y="1265098"/>
                </a:cubicBezTo>
                <a:lnTo>
                  <a:pt x="0" y="50054"/>
                </a:lnTo>
                <a:cubicBezTo>
                  <a:pt x="0" y="22410"/>
                  <a:pt x="22410" y="0"/>
                  <a:pt x="50054" y="0"/>
                </a:cubicBezTo>
                <a:close/>
              </a:path>
            </a:pathLst>
          </a:custGeom>
          <a:solidFill>
            <a:schemeClr val="tx1"/>
          </a:solidFill>
          <a:ln w="1174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087"/>
            <a:endParaRPr lang="en-US" sz="2000" dirty="0">
              <a:solidFill>
                <a:srgbClr val="0078D7">
                  <a:lumMod val="75000"/>
                </a:srgbClr>
              </a:solidFill>
            </a:endParaRPr>
          </a:p>
        </p:txBody>
      </p:sp>
      <p:grpSp>
        <p:nvGrpSpPr>
          <p:cNvPr id="21" name="Group 20"/>
          <p:cNvGrpSpPr/>
          <p:nvPr/>
        </p:nvGrpSpPr>
        <p:grpSpPr>
          <a:xfrm>
            <a:off x="3946588" y="1568847"/>
            <a:ext cx="1686496" cy="645094"/>
            <a:chOff x="6716617" y="1788568"/>
            <a:chExt cx="1634785" cy="860248"/>
          </a:xfrm>
        </p:grpSpPr>
        <p:sp>
          <p:nvSpPr>
            <p:cNvPr id="181" name="Rectangle 180"/>
            <p:cNvSpPr/>
            <p:nvPr/>
          </p:nvSpPr>
          <p:spPr>
            <a:xfrm>
              <a:off x="6716617" y="1788568"/>
              <a:ext cx="1110055" cy="392036"/>
            </a:xfrm>
            <a:prstGeom prst="rect">
              <a:avLst/>
            </a:prstGeom>
            <a:noFill/>
            <a:ln>
              <a:noFill/>
            </a:ln>
          </p:spPr>
          <p:txBody>
            <a:bodyPr wrap="square" lIns="0" tIns="0" rIns="0" bIns="0" anchor="ctr" anchorCtr="0">
              <a:noAutofit/>
            </a:bodyPr>
            <a:lstStyle/>
            <a:p>
              <a:pPr defTabSz="838811">
                <a:spcBef>
                  <a:spcPts val="1101"/>
                </a:spcBef>
              </a:pPr>
              <a:r>
                <a:rPr lang="en-US" sz="1200" b="1" dirty="0">
                  <a:ln>
                    <a:solidFill>
                      <a:srgbClr val="FFFFFF">
                        <a:alpha val="0"/>
                      </a:srgbClr>
                    </a:solidFill>
                  </a:ln>
                  <a:solidFill>
                    <a:srgbClr val="0078D7">
                      <a:lumMod val="75000"/>
                    </a:srgbClr>
                  </a:solidFill>
                </a:rPr>
                <a:t>Azure Device Registration Service</a:t>
              </a:r>
            </a:p>
          </p:txBody>
        </p:sp>
        <p:grpSp>
          <p:nvGrpSpPr>
            <p:cNvPr id="20" name="Group 19"/>
            <p:cNvGrpSpPr/>
            <p:nvPr/>
          </p:nvGrpSpPr>
          <p:grpSpPr>
            <a:xfrm>
              <a:off x="7585820" y="1862766"/>
              <a:ext cx="765582" cy="786050"/>
              <a:chOff x="7585820" y="1862766"/>
              <a:chExt cx="765582" cy="786050"/>
            </a:xfrm>
          </p:grpSpPr>
          <p:grpSp>
            <p:nvGrpSpPr>
              <p:cNvPr id="180" name="Group 179"/>
              <p:cNvGrpSpPr/>
              <p:nvPr/>
            </p:nvGrpSpPr>
            <p:grpSpPr>
              <a:xfrm>
                <a:off x="7585820" y="1862766"/>
                <a:ext cx="711299" cy="786050"/>
                <a:chOff x="7480679" y="4598931"/>
                <a:chExt cx="711299" cy="786050"/>
              </a:xfrm>
            </p:grpSpPr>
            <p:sp>
              <p:nvSpPr>
                <p:cNvPr id="183" name="Rounded Rectangle 182"/>
                <p:cNvSpPr/>
                <p:nvPr/>
              </p:nvSpPr>
              <p:spPr bwMode="auto">
                <a:xfrm>
                  <a:off x="7480679" y="4598931"/>
                  <a:ext cx="711299" cy="786050"/>
                </a:xfrm>
                <a:prstGeom prst="roundRect">
                  <a:avLst/>
                </a:prstGeom>
                <a:solidFill>
                  <a:schemeClr val="tx1"/>
                </a:solidFill>
                <a:ln w="381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3" rIns="0" bIns="34973" numCol="1" rtlCol="0" anchor="ctr" anchorCtr="0" compatLnSpc="1">
                  <a:prstTxWarp prst="textNoShape">
                    <a:avLst/>
                  </a:prstTxWarp>
                </a:bodyPr>
                <a:lstStyle/>
                <a:p>
                  <a:pPr algn="ctr" defTabSz="699291" fontAlgn="base">
                    <a:spcBef>
                      <a:spcPct val="0"/>
                    </a:spcBef>
                    <a:spcAft>
                      <a:spcPct val="0"/>
                    </a:spcAft>
                  </a:pPr>
                  <a:endParaRPr lang="en-US" sz="1100" dirty="0">
                    <a:solidFill>
                      <a:srgbClr val="0078D7">
                        <a:lumMod val="75000"/>
                      </a:srgbClr>
                    </a:solidFill>
                    <a:cs typeface="Segoe UI Semibold" panose="020B0702040204020203" pitchFamily="34" charset="0"/>
                  </a:endParaRPr>
                </a:p>
              </p:txBody>
            </p:sp>
            <p:sp>
              <p:nvSpPr>
                <p:cNvPr id="184" name="Freeform 9"/>
                <p:cNvSpPr>
                  <a:spLocks noChangeAspect="1" noEditPoints="1"/>
                </p:cNvSpPr>
                <p:nvPr/>
              </p:nvSpPr>
              <p:spPr bwMode="black">
                <a:xfrm>
                  <a:off x="7589837" y="4962285"/>
                  <a:ext cx="412151" cy="334185"/>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accent2">
                    <a:lumMod val="60000"/>
                    <a:lumOff val="40000"/>
                  </a:schemeClr>
                </a:solidFill>
                <a:ln>
                  <a:noFill/>
                </a:ln>
              </p:spPr>
              <p:txBody>
                <a:bodyPr vert="horz" wrap="square" lIns="68570" tIns="34285" rIns="68570" bIns="34285" numCol="1" anchor="t" anchorCtr="0" compatLnSpc="1">
                  <a:prstTxWarp prst="textNoShape">
                    <a:avLst/>
                  </a:prstTxWarp>
                </a:bodyPr>
                <a:lstStyle/>
                <a:p>
                  <a:pPr defTabSz="932597"/>
                  <a:endParaRPr lang="en-US" dirty="0">
                    <a:solidFill>
                      <a:srgbClr val="0078D7">
                        <a:lumMod val="75000"/>
                      </a:srgbClr>
                    </a:solidFill>
                  </a:endParaRPr>
                </a:p>
              </p:txBody>
            </p:sp>
            <p:sp>
              <p:nvSpPr>
                <p:cNvPr id="185" name="Rectangle 184"/>
                <p:cNvSpPr/>
                <p:nvPr/>
              </p:nvSpPr>
              <p:spPr>
                <a:xfrm>
                  <a:off x="7667213" y="5115226"/>
                  <a:ext cx="502996" cy="225735"/>
                </a:xfrm>
                <a:prstGeom prst="rect">
                  <a:avLst/>
                </a:prstGeom>
              </p:spPr>
              <p:txBody>
                <a:bodyPr wrap="square" lIns="0" tIns="0" rIns="0" bIns="0" anchor="b">
                  <a:spAutoFit/>
                </a:bodyPr>
                <a:lstStyle/>
                <a:p>
                  <a:pPr algn="ctr" defTabSz="838560"/>
                  <a:endParaRPr lang="en-US" sz="1100" dirty="0">
                    <a:ln>
                      <a:solidFill>
                        <a:srgbClr val="FFFFFF">
                          <a:alpha val="0"/>
                        </a:srgbClr>
                      </a:solidFill>
                    </a:ln>
                    <a:solidFill>
                      <a:srgbClr val="0078D7">
                        <a:lumMod val="75000"/>
                      </a:srgbClr>
                    </a:solidFill>
                  </a:endParaRPr>
                </a:p>
              </p:txBody>
            </p:sp>
          </p:grpSp>
          <p:sp>
            <p:nvSpPr>
              <p:cNvPr id="182" name="Rectangle 181"/>
              <p:cNvSpPr/>
              <p:nvPr/>
            </p:nvSpPr>
            <p:spPr>
              <a:xfrm>
                <a:off x="7848407" y="2393422"/>
                <a:ext cx="502995" cy="225735"/>
              </a:xfrm>
              <a:prstGeom prst="rect">
                <a:avLst/>
              </a:prstGeom>
            </p:spPr>
            <p:txBody>
              <a:bodyPr wrap="square" lIns="0" tIns="0" rIns="0" bIns="0" anchor="b">
                <a:spAutoFit/>
              </a:bodyPr>
              <a:lstStyle/>
              <a:p>
                <a:pPr algn="ctr" defTabSz="838560"/>
                <a:r>
                  <a:rPr lang="en-US" sz="1100" dirty="0">
                    <a:ln>
                      <a:solidFill>
                        <a:srgbClr val="FFFFFF">
                          <a:alpha val="0"/>
                        </a:srgbClr>
                      </a:solidFill>
                    </a:ln>
                    <a:solidFill>
                      <a:srgbClr val="0078D7">
                        <a:lumMod val="75000"/>
                      </a:srgbClr>
                    </a:solidFill>
                  </a:rPr>
                  <a:t>ADRS</a:t>
                </a:r>
              </a:p>
            </p:txBody>
          </p:sp>
        </p:grpSp>
      </p:grpSp>
      <p:cxnSp>
        <p:nvCxnSpPr>
          <p:cNvPr id="12" name="Curved Connector 11"/>
          <p:cNvCxnSpPr>
            <a:stCxn id="183" idx="2"/>
          </p:cNvCxnSpPr>
          <p:nvPr/>
        </p:nvCxnSpPr>
        <p:spPr>
          <a:xfrm rot="16200000" flipH="1">
            <a:off x="5206190" y="2217935"/>
            <a:ext cx="1973810" cy="1965821"/>
          </a:xfrm>
          <a:prstGeom prst="curvedConnector3">
            <a:avLst>
              <a:gd name="adj1" fmla="val 50000"/>
            </a:avLst>
          </a:prstGeom>
          <a:ln w="57150">
            <a:headEnd type="triangle"/>
            <a:tailEnd type="triangle"/>
          </a:ln>
        </p:spPr>
        <p:style>
          <a:lnRef idx="2">
            <a:schemeClr val="accent2"/>
          </a:lnRef>
          <a:fillRef idx="0">
            <a:schemeClr val="accent2"/>
          </a:fillRef>
          <a:effectRef idx="1">
            <a:schemeClr val="accent2"/>
          </a:effectRef>
          <a:fontRef idx="minor">
            <a:schemeClr val="tx1"/>
          </a:fontRef>
        </p:style>
      </p:cxnSp>
      <p:cxnSp>
        <p:nvCxnSpPr>
          <p:cNvPr id="73" name="Curved Connector 72"/>
          <p:cNvCxnSpPr/>
          <p:nvPr/>
        </p:nvCxnSpPr>
        <p:spPr>
          <a:xfrm rot="10800000">
            <a:off x="5588858" y="1959091"/>
            <a:ext cx="1215671" cy="19893"/>
          </a:xfrm>
          <a:prstGeom prst="curvedConnector3">
            <a:avLst/>
          </a:prstGeom>
          <a:ln w="57150">
            <a:headEnd type="triangle"/>
            <a:tailEnd type="triangle"/>
          </a:ln>
        </p:spPr>
        <p:style>
          <a:lnRef idx="2">
            <a:schemeClr val="accent2"/>
          </a:lnRef>
          <a:fillRef idx="0">
            <a:schemeClr val="accent2"/>
          </a:fillRef>
          <a:effectRef idx="1">
            <a:schemeClr val="accent2"/>
          </a:effectRef>
          <a:fontRef idx="minor">
            <a:schemeClr val="tx1"/>
          </a:fontRef>
        </p:style>
      </p:cxnSp>
      <p:grpSp>
        <p:nvGrpSpPr>
          <p:cNvPr id="23" name="Group 22"/>
          <p:cNvGrpSpPr/>
          <p:nvPr/>
        </p:nvGrpSpPr>
        <p:grpSpPr>
          <a:xfrm>
            <a:off x="7899075" y="2119059"/>
            <a:ext cx="1490375" cy="696076"/>
            <a:chOff x="9375990" y="787172"/>
            <a:chExt cx="1490375" cy="696076"/>
          </a:xfrm>
        </p:grpSpPr>
        <p:sp>
          <p:nvSpPr>
            <p:cNvPr id="88" name="Rectangle 87"/>
            <p:cNvSpPr/>
            <p:nvPr/>
          </p:nvSpPr>
          <p:spPr>
            <a:xfrm>
              <a:off x="9940789" y="787172"/>
              <a:ext cx="925576" cy="646331"/>
            </a:xfrm>
            <a:prstGeom prst="rect">
              <a:avLst/>
            </a:prstGeom>
          </p:spPr>
          <p:txBody>
            <a:bodyPr wrap="square" lIns="0" tIns="0" rIns="0" bIns="0" anchor="b">
              <a:spAutoFit/>
            </a:bodyPr>
            <a:lstStyle/>
            <a:p>
              <a:pPr algn="ctr" defTabSz="838560">
                <a:spcBef>
                  <a:spcPts val="1101"/>
                </a:spcBef>
              </a:pPr>
              <a:r>
                <a:rPr lang="en-US" sz="1400" b="1" dirty="0">
                  <a:ln>
                    <a:solidFill>
                      <a:srgbClr val="FFFFFF">
                        <a:alpha val="0"/>
                      </a:srgbClr>
                    </a:solidFill>
                  </a:ln>
                  <a:solidFill>
                    <a:srgbClr val="0078D7">
                      <a:lumMod val="75000"/>
                    </a:srgbClr>
                  </a:solidFill>
                </a:rPr>
                <a:t>3rd party </a:t>
              </a:r>
              <a:br>
                <a:rPr lang="en-US" sz="1400" b="1" dirty="0">
                  <a:ln>
                    <a:solidFill>
                      <a:srgbClr val="FFFFFF">
                        <a:alpha val="0"/>
                      </a:srgbClr>
                    </a:solidFill>
                  </a:ln>
                  <a:solidFill>
                    <a:srgbClr val="0078D7">
                      <a:lumMod val="75000"/>
                    </a:srgbClr>
                  </a:solidFill>
                </a:rPr>
              </a:br>
              <a:r>
                <a:rPr lang="en-US" sz="1400" b="1" dirty="0">
                  <a:ln>
                    <a:solidFill>
                      <a:srgbClr val="FFFFFF">
                        <a:alpha val="0"/>
                      </a:srgbClr>
                    </a:solidFill>
                  </a:ln>
                  <a:solidFill>
                    <a:srgbClr val="0078D7">
                      <a:lumMod val="75000"/>
                    </a:srgbClr>
                  </a:solidFill>
                </a:rPr>
                <a:t>apps &amp; clouds</a:t>
              </a:r>
            </a:p>
          </p:txBody>
        </p:sp>
        <p:grpSp>
          <p:nvGrpSpPr>
            <p:cNvPr id="89" name="Group 88"/>
            <p:cNvGrpSpPr/>
            <p:nvPr/>
          </p:nvGrpSpPr>
          <p:grpSpPr>
            <a:xfrm>
              <a:off x="9375990" y="1072961"/>
              <a:ext cx="584712" cy="410287"/>
              <a:chOff x="10569516" y="1145027"/>
              <a:chExt cx="764507" cy="536449"/>
            </a:xfrm>
          </p:grpSpPr>
          <p:sp>
            <p:nvSpPr>
              <p:cNvPr id="90" name="Freeform 5"/>
              <p:cNvSpPr>
                <a:spLocks noEditPoints="1"/>
              </p:cNvSpPr>
              <p:nvPr/>
            </p:nvSpPr>
            <p:spPr bwMode="auto">
              <a:xfrm>
                <a:off x="10569516" y="1145027"/>
                <a:ext cx="764507" cy="536449"/>
              </a:xfrm>
              <a:custGeom>
                <a:avLst/>
                <a:gdLst>
                  <a:gd name="T0" fmla="*/ 2274 w 2350"/>
                  <a:gd name="T1" fmla="*/ 0 h 1648"/>
                  <a:gd name="T2" fmla="*/ 76 w 2350"/>
                  <a:gd name="T3" fmla="*/ 0 h 1648"/>
                  <a:gd name="T4" fmla="*/ 0 w 2350"/>
                  <a:gd name="T5" fmla="*/ 75 h 1648"/>
                  <a:gd name="T6" fmla="*/ 0 w 2350"/>
                  <a:gd name="T7" fmla="*/ 1573 h 1648"/>
                  <a:gd name="T8" fmla="*/ 76 w 2350"/>
                  <a:gd name="T9" fmla="*/ 1648 h 1648"/>
                  <a:gd name="T10" fmla="*/ 2274 w 2350"/>
                  <a:gd name="T11" fmla="*/ 1648 h 1648"/>
                  <a:gd name="T12" fmla="*/ 2350 w 2350"/>
                  <a:gd name="T13" fmla="*/ 1573 h 1648"/>
                  <a:gd name="T14" fmla="*/ 2350 w 2350"/>
                  <a:gd name="T15" fmla="*/ 75 h 1648"/>
                  <a:gd name="T16" fmla="*/ 2274 w 2350"/>
                  <a:gd name="T17" fmla="*/ 0 h 1648"/>
                  <a:gd name="T18" fmla="*/ 2217 w 2350"/>
                  <a:gd name="T19" fmla="*/ 1454 h 1648"/>
                  <a:gd name="T20" fmla="*/ 2151 w 2350"/>
                  <a:gd name="T21" fmla="*/ 1516 h 1648"/>
                  <a:gd name="T22" fmla="*/ 199 w 2350"/>
                  <a:gd name="T23" fmla="*/ 1516 h 1648"/>
                  <a:gd name="T24" fmla="*/ 133 w 2350"/>
                  <a:gd name="T25" fmla="*/ 1454 h 1648"/>
                  <a:gd name="T26" fmla="*/ 133 w 2350"/>
                  <a:gd name="T27" fmla="*/ 199 h 1648"/>
                  <a:gd name="T28" fmla="*/ 199 w 2350"/>
                  <a:gd name="T29" fmla="*/ 132 h 1648"/>
                  <a:gd name="T30" fmla="*/ 2151 w 2350"/>
                  <a:gd name="T31" fmla="*/ 132 h 1648"/>
                  <a:gd name="T32" fmla="*/ 2217 w 2350"/>
                  <a:gd name="T33" fmla="*/ 199 h 1648"/>
                  <a:gd name="T34" fmla="*/ 2217 w 2350"/>
                  <a:gd name="T35" fmla="*/ 1454 h 1648"/>
                  <a:gd name="T36" fmla="*/ 2217 w 2350"/>
                  <a:gd name="T37" fmla="*/ 1454 h 1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50" h="1648">
                    <a:moveTo>
                      <a:pt x="2274" y="0"/>
                    </a:moveTo>
                    <a:cubicBezTo>
                      <a:pt x="76" y="0"/>
                      <a:pt x="76" y="0"/>
                      <a:pt x="76" y="0"/>
                    </a:cubicBezTo>
                    <a:cubicBezTo>
                      <a:pt x="31" y="0"/>
                      <a:pt x="0" y="35"/>
                      <a:pt x="0" y="75"/>
                    </a:cubicBezTo>
                    <a:cubicBezTo>
                      <a:pt x="0" y="1573"/>
                      <a:pt x="0" y="1573"/>
                      <a:pt x="0" y="1573"/>
                    </a:cubicBezTo>
                    <a:cubicBezTo>
                      <a:pt x="0" y="1617"/>
                      <a:pt x="31" y="1648"/>
                      <a:pt x="76" y="1648"/>
                    </a:cubicBezTo>
                    <a:cubicBezTo>
                      <a:pt x="2274" y="1648"/>
                      <a:pt x="2274" y="1648"/>
                      <a:pt x="2274" y="1648"/>
                    </a:cubicBezTo>
                    <a:cubicBezTo>
                      <a:pt x="2319" y="1648"/>
                      <a:pt x="2350" y="1617"/>
                      <a:pt x="2350" y="1573"/>
                    </a:cubicBezTo>
                    <a:cubicBezTo>
                      <a:pt x="2350" y="75"/>
                      <a:pt x="2350" y="75"/>
                      <a:pt x="2350" y="75"/>
                    </a:cubicBezTo>
                    <a:cubicBezTo>
                      <a:pt x="2350" y="35"/>
                      <a:pt x="2319" y="0"/>
                      <a:pt x="2274" y="0"/>
                    </a:cubicBezTo>
                    <a:close/>
                    <a:moveTo>
                      <a:pt x="2217" y="1454"/>
                    </a:moveTo>
                    <a:cubicBezTo>
                      <a:pt x="2217" y="1489"/>
                      <a:pt x="2186" y="1516"/>
                      <a:pt x="2151" y="1516"/>
                    </a:cubicBezTo>
                    <a:cubicBezTo>
                      <a:pt x="199" y="1516"/>
                      <a:pt x="199" y="1516"/>
                      <a:pt x="199" y="1516"/>
                    </a:cubicBezTo>
                    <a:cubicBezTo>
                      <a:pt x="164" y="1516"/>
                      <a:pt x="133" y="1489"/>
                      <a:pt x="133" y="1454"/>
                    </a:cubicBezTo>
                    <a:cubicBezTo>
                      <a:pt x="133" y="199"/>
                      <a:pt x="133" y="199"/>
                      <a:pt x="133" y="199"/>
                    </a:cubicBezTo>
                    <a:cubicBezTo>
                      <a:pt x="133" y="163"/>
                      <a:pt x="164" y="132"/>
                      <a:pt x="199" y="132"/>
                    </a:cubicBezTo>
                    <a:cubicBezTo>
                      <a:pt x="2151" y="132"/>
                      <a:pt x="2151" y="132"/>
                      <a:pt x="2151" y="132"/>
                    </a:cubicBezTo>
                    <a:cubicBezTo>
                      <a:pt x="2186" y="132"/>
                      <a:pt x="2217" y="163"/>
                      <a:pt x="2217" y="199"/>
                    </a:cubicBezTo>
                    <a:cubicBezTo>
                      <a:pt x="2217" y="1454"/>
                      <a:pt x="2217" y="1454"/>
                      <a:pt x="2217" y="1454"/>
                    </a:cubicBezTo>
                    <a:cubicBezTo>
                      <a:pt x="2217" y="1454"/>
                      <a:pt x="2217" y="1454"/>
                      <a:pt x="2217" y="1454"/>
                    </a:cubicBezTo>
                    <a:close/>
                  </a:path>
                </a:pathLst>
              </a:custGeom>
              <a:solidFill>
                <a:srgbClr val="FFFFFF"/>
              </a:solidFill>
              <a:ln>
                <a:noFill/>
              </a:ln>
              <a:extLst/>
            </p:spPr>
            <p:txBody>
              <a:bodyPr vert="horz" wrap="square" lIns="69935" tIns="34968" rIns="69935" bIns="34968" numCol="1" anchor="t" anchorCtr="0" compatLnSpc="1">
                <a:prstTxWarp prst="textNoShape">
                  <a:avLst/>
                </a:prstTxWarp>
              </a:bodyPr>
              <a:lstStyle/>
              <a:p>
                <a:pPr defTabSz="713230">
                  <a:defRPr/>
                </a:pPr>
                <a:endParaRPr lang="en-US" sz="1377" kern="0">
                  <a:solidFill>
                    <a:srgbClr val="505050"/>
                  </a:solidFill>
                </a:endParaRPr>
              </a:p>
            </p:txBody>
          </p:sp>
          <p:pic>
            <p:nvPicPr>
              <p:cNvPr id="91" name="Picture 90"/>
              <p:cNvPicPr>
                <a:picLocks noChangeAspect="1"/>
              </p:cNvPicPr>
              <p:nvPr/>
            </p:nvPicPr>
            <p:blipFill rotWithShape="1">
              <a:blip r:embed="rId7" cstate="print">
                <a:extLst>
                  <a:ext uri="{28A0092B-C50C-407E-A947-70E740481C1C}">
                    <a14:useLocalDpi xmlns:a14="http://schemas.microsoft.com/office/drawing/2010/main" val="0"/>
                  </a:ext>
                </a:extLst>
              </a:blip>
              <a:srcRect t="1475" b="1715"/>
              <a:stretch/>
            </p:blipFill>
            <p:spPr>
              <a:xfrm>
                <a:off x="10733900" y="1210100"/>
                <a:ext cx="425042" cy="411480"/>
              </a:xfrm>
              <a:prstGeom prst="rect">
                <a:avLst/>
              </a:prstGeom>
            </p:spPr>
          </p:pic>
        </p:grpSp>
      </p:grpSp>
      <p:grpSp>
        <p:nvGrpSpPr>
          <p:cNvPr id="92" name="Group 91"/>
          <p:cNvGrpSpPr/>
          <p:nvPr/>
        </p:nvGrpSpPr>
        <p:grpSpPr>
          <a:xfrm>
            <a:off x="4461910" y="805029"/>
            <a:ext cx="1533715" cy="628550"/>
            <a:chOff x="6716617" y="1788568"/>
            <a:chExt cx="1634785" cy="860248"/>
          </a:xfrm>
        </p:grpSpPr>
        <p:sp>
          <p:nvSpPr>
            <p:cNvPr id="93" name="Rectangle 92"/>
            <p:cNvSpPr/>
            <p:nvPr/>
          </p:nvSpPr>
          <p:spPr>
            <a:xfrm>
              <a:off x="6716617" y="1788568"/>
              <a:ext cx="1110055" cy="392036"/>
            </a:xfrm>
            <a:prstGeom prst="rect">
              <a:avLst/>
            </a:prstGeom>
            <a:noFill/>
            <a:ln>
              <a:noFill/>
            </a:ln>
          </p:spPr>
          <p:txBody>
            <a:bodyPr wrap="square" lIns="0" tIns="0" rIns="0" bIns="0" anchor="ctr" anchorCtr="0">
              <a:noAutofit/>
            </a:bodyPr>
            <a:lstStyle/>
            <a:p>
              <a:pPr defTabSz="838811">
                <a:spcBef>
                  <a:spcPts val="1101"/>
                </a:spcBef>
              </a:pPr>
              <a:r>
                <a:rPr lang="en-US" sz="1200" b="1" dirty="0" smtClean="0">
                  <a:ln>
                    <a:solidFill>
                      <a:srgbClr val="FFFFFF">
                        <a:alpha val="0"/>
                      </a:srgbClr>
                    </a:solidFill>
                  </a:ln>
                  <a:solidFill>
                    <a:srgbClr val="0078D7">
                      <a:lumMod val="75000"/>
                    </a:srgbClr>
                  </a:solidFill>
                </a:rPr>
                <a:t> Azure Federation Services</a:t>
              </a:r>
              <a:endParaRPr lang="en-US" sz="1200" b="1" dirty="0">
                <a:ln>
                  <a:solidFill>
                    <a:srgbClr val="FFFFFF">
                      <a:alpha val="0"/>
                    </a:srgbClr>
                  </a:solidFill>
                </a:ln>
                <a:solidFill>
                  <a:srgbClr val="0078D7">
                    <a:lumMod val="75000"/>
                  </a:srgbClr>
                </a:solidFill>
              </a:endParaRPr>
            </a:p>
          </p:txBody>
        </p:sp>
        <p:grpSp>
          <p:nvGrpSpPr>
            <p:cNvPr id="94" name="Group 93"/>
            <p:cNvGrpSpPr/>
            <p:nvPr/>
          </p:nvGrpSpPr>
          <p:grpSpPr>
            <a:xfrm>
              <a:off x="7585820" y="1862766"/>
              <a:ext cx="765582" cy="786050"/>
              <a:chOff x="7585820" y="1862766"/>
              <a:chExt cx="765582" cy="786050"/>
            </a:xfrm>
          </p:grpSpPr>
          <p:grpSp>
            <p:nvGrpSpPr>
              <p:cNvPr id="95" name="Group 94"/>
              <p:cNvGrpSpPr/>
              <p:nvPr/>
            </p:nvGrpSpPr>
            <p:grpSpPr>
              <a:xfrm>
                <a:off x="7585820" y="1862766"/>
                <a:ext cx="711299" cy="786050"/>
                <a:chOff x="7480679" y="4598931"/>
                <a:chExt cx="711299" cy="786050"/>
              </a:xfrm>
            </p:grpSpPr>
            <p:sp>
              <p:nvSpPr>
                <p:cNvPr id="97" name="Rounded Rectangle 96"/>
                <p:cNvSpPr/>
                <p:nvPr/>
              </p:nvSpPr>
              <p:spPr bwMode="auto">
                <a:xfrm>
                  <a:off x="7480679" y="4598931"/>
                  <a:ext cx="711299" cy="786050"/>
                </a:xfrm>
                <a:prstGeom prst="roundRect">
                  <a:avLst/>
                </a:prstGeom>
                <a:solidFill>
                  <a:schemeClr val="tx1"/>
                </a:solidFill>
                <a:ln w="381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3" rIns="0" bIns="34973" numCol="1" rtlCol="0" anchor="ctr" anchorCtr="0" compatLnSpc="1">
                  <a:prstTxWarp prst="textNoShape">
                    <a:avLst/>
                  </a:prstTxWarp>
                </a:bodyPr>
                <a:lstStyle/>
                <a:p>
                  <a:pPr algn="ctr" defTabSz="699291" fontAlgn="base">
                    <a:spcBef>
                      <a:spcPct val="0"/>
                    </a:spcBef>
                    <a:spcAft>
                      <a:spcPct val="0"/>
                    </a:spcAft>
                  </a:pPr>
                  <a:endParaRPr lang="en-US" sz="1100" dirty="0">
                    <a:solidFill>
                      <a:srgbClr val="0078D7">
                        <a:lumMod val="75000"/>
                      </a:srgbClr>
                    </a:solidFill>
                    <a:cs typeface="Segoe UI Semibold" panose="020B0702040204020203" pitchFamily="34" charset="0"/>
                  </a:endParaRPr>
                </a:p>
              </p:txBody>
            </p:sp>
            <p:sp>
              <p:nvSpPr>
                <p:cNvPr id="99" name="Freeform 9"/>
                <p:cNvSpPr>
                  <a:spLocks noChangeAspect="1" noEditPoints="1"/>
                </p:cNvSpPr>
                <p:nvPr/>
              </p:nvSpPr>
              <p:spPr bwMode="black">
                <a:xfrm>
                  <a:off x="7589837" y="4962285"/>
                  <a:ext cx="412151" cy="334185"/>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accent2">
                    <a:lumMod val="60000"/>
                    <a:lumOff val="40000"/>
                  </a:schemeClr>
                </a:solidFill>
                <a:ln>
                  <a:noFill/>
                </a:ln>
              </p:spPr>
              <p:txBody>
                <a:bodyPr vert="horz" wrap="square" lIns="68570" tIns="34285" rIns="68570" bIns="34285" numCol="1" anchor="t" anchorCtr="0" compatLnSpc="1">
                  <a:prstTxWarp prst="textNoShape">
                    <a:avLst/>
                  </a:prstTxWarp>
                </a:bodyPr>
                <a:lstStyle/>
                <a:p>
                  <a:pPr defTabSz="932597"/>
                  <a:endParaRPr lang="en-US" dirty="0">
                    <a:solidFill>
                      <a:srgbClr val="0078D7">
                        <a:lumMod val="75000"/>
                      </a:srgbClr>
                    </a:solidFill>
                  </a:endParaRPr>
                </a:p>
              </p:txBody>
            </p:sp>
            <p:sp>
              <p:nvSpPr>
                <p:cNvPr id="100" name="Rectangle 99"/>
                <p:cNvSpPr/>
                <p:nvPr/>
              </p:nvSpPr>
              <p:spPr>
                <a:xfrm>
                  <a:off x="7667213" y="5115226"/>
                  <a:ext cx="502996" cy="225735"/>
                </a:xfrm>
                <a:prstGeom prst="rect">
                  <a:avLst/>
                </a:prstGeom>
              </p:spPr>
              <p:txBody>
                <a:bodyPr wrap="square" lIns="0" tIns="0" rIns="0" bIns="0" anchor="b">
                  <a:spAutoFit/>
                </a:bodyPr>
                <a:lstStyle/>
                <a:p>
                  <a:pPr algn="ctr" defTabSz="838560"/>
                  <a:endParaRPr lang="en-US" sz="1100" dirty="0">
                    <a:ln>
                      <a:solidFill>
                        <a:srgbClr val="FFFFFF">
                          <a:alpha val="0"/>
                        </a:srgbClr>
                      </a:solidFill>
                    </a:ln>
                    <a:solidFill>
                      <a:srgbClr val="0078D7">
                        <a:lumMod val="75000"/>
                      </a:srgbClr>
                    </a:solidFill>
                  </a:endParaRPr>
                </a:p>
              </p:txBody>
            </p:sp>
          </p:grpSp>
          <p:sp>
            <p:nvSpPr>
              <p:cNvPr id="96" name="Rectangle 95"/>
              <p:cNvSpPr/>
              <p:nvPr/>
            </p:nvSpPr>
            <p:spPr>
              <a:xfrm>
                <a:off x="7848407" y="2393422"/>
                <a:ext cx="502995" cy="225735"/>
              </a:xfrm>
              <a:prstGeom prst="rect">
                <a:avLst/>
              </a:prstGeom>
            </p:spPr>
            <p:txBody>
              <a:bodyPr wrap="square" lIns="0" tIns="0" rIns="0" bIns="0" anchor="b">
                <a:spAutoFit/>
              </a:bodyPr>
              <a:lstStyle/>
              <a:p>
                <a:pPr algn="ctr" defTabSz="838560"/>
                <a:r>
                  <a:rPr lang="en-US" sz="1100" dirty="0" smtClean="0">
                    <a:ln>
                      <a:solidFill>
                        <a:srgbClr val="FFFFFF">
                          <a:alpha val="0"/>
                        </a:srgbClr>
                      </a:solidFill>
                    </a:ln>
                    <a:solidFill>
                      <a:srgbClr val="0078D7">
                        <a:lumMod val="75000"/>
                      </a:srgbClr>
                    </a:solidFill>
                  </a:rPr>
                  <a:t>ADFS</a:t>
                </a:r>
                <a:endParaRPr lang="en-US" sz="1100" dirty="0">
                  <a:ln>
                    <a:solidFill>
                      <a:srgbClr val="FFFFFF">
                        <a:alpha val="0"/>
                      </a:srgbClr>
                    </a:solidFill>
                  </a:ln>
                  <a:solidFill>
                    <a:srgbClr val="0078D7">
                      <a:lumMod val="75000"/>
                    </a:srgbClr>
                  </a:solidFill>
                </a:endParaRPr>
              </a:p>
            </p:txBody>
          </p:sp>
        </p:grpSp>
      </p:grpSp>
      <p:sp>
        <p:nvSpPr>
          <p:cNvPr id="64" name="TextBox 63"/>
          <p:cNvSpPr txBox="1"/>
          <p:nvPr/>
        </p:nvSpPr>
        <p:spPr>
          <a:xfrm>
            <a:off x="1189037" y="144462"/>
            <a:ext cx="811119" cy="6705600"/>
          </a:xfrm>
          <a:prstGeom prst="rect">
            <a:avLst/>
          </a:prstGeom>
          <a:noFill/>
        </p:spPr>
        <p:txBody>
          <a:bodyPr vert="wordArtVert" wrap="square" lIns="182880" tIns="146304" rIns="182880" bIns="146304" rtlCol="0">
            <a:spAutoFit/>
          </a:bodyPr>
          <a:lstStyle/>
          <a:p>
            <a:pPr defTabSz="932472" fontAlgn="base">
              <a:lnSpc>
                <a:spcPct val="90000"/>
              </a:lnSpc>
              <a:spcBef>
                <a:spcPct val="0"/>
              </a:spcBef>
              <a:spcAft>
                <a:spcPct val="0"/>
              </a:spcAft>
              <a:defRPr/>
            </a:pPr>
            <a:r>
              <a:rPr lang="en-US" sz="2400" dirty="0" smtClean="0">
                <a:gradFill>
                  <a:gsLst>
                    <a:gs pos="0">
                      <a:srgbClr val="FFFFFF"/>
                    </a:gs>
                    <a:gs pos="100000">
                      <a:srgbClr val="FFFFFF"/>
                    </a:gs>
                  </a:gsLst>
                  <a:lin ang="5400000" scaled="0"/>
                </a:gradFill>
                <a:ea typeface="Segoe UI" pitchFamily="34" charset="0"/>
                <a:cs typeface="Segoe UI" pitchFamily="34" charset="0"/>
              </a:rPr>
              <a:t>AZURE AD ONLY</a:t>
            </a: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359542595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92"/>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1" nodeType="clickEffect">
                                  <p:stCondLst>
                                    <p:cond delay="0"/>
                                  </p:stCondLst>
                                  <p:childTnLst>
                                    <p:set>
                                      <p:cBhvr>
                                        <p:cTn id="26" dur="1" fill="hold">
                                          <p:stCondLst>
                                            <p:cond delay="0"/>
                                          </p:stCondLst>
                                        </p:cTn>
                                        <p:tgtEl>
                                          <p:spTgt spid="192"/>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2" grpId="0" animBg="1"/>
      <p:bldP spid="192" grpId="1" animBg="1"/>
    </p:bldLst>
  </p:timing>
</p:sld>
</file>

<file path=ppt/slides/slide31.xml><?xml version="1.0" encoding="utf-8"?>
<p:sld xmlns:a="http://schemas.openxmlformats.org/drawingml/2006/main" xmlns:r="http://schemas.openxmlformats.org/officeDocument/2006/relationships" xmlns:p="http://schemas.openxmlformats.org/presentationml/2006/main" showMasterSp="0">
  <p:cSld>
    <p:bg>
      <p:bgPr>
        <a:solidFill>
          <a:srgbClr val="505050"/>
        </a:solidFill>
        <a:effectLst/>
      </p:bgPr>
    </p:bg>
    <p:spTree>
      <p:nvGrpSpPr>
        <p:cNvPr id="1" name=""/>
        <p:cNvGrpSpPr/>
        <p:nvPr/>
      </p:nvGrpSpPr>
      <p:grpSpPr>
        <a:xfrm>
          <a:off x="0" y="0"/>
          <a:ext cx="0" cy="0"/>
          <a:chOff x="0" y="0"/>
          <a:chExt cx="0" cy="0"/>
        </a:xfrm>
      </p:grpSpPr>
      <p:sp>
        <p:nvSpPr>
          <p:cNvPr id="192" name="Freeform 10"/>
          <p:cNvSpPr>
            <a:spLocks noEditPoints="1"/>
          </p:cNvSpPr>
          <p:nvPr/>
        </p:nvSpPr>
        <p:spPr bwMode="black">
          <a:xfrm>
            <a:off x="6925917" y="668319"/>
            <a:ext cx="3026120" cy="2371743"/>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chemeClr val="accent2">
              <a:lumMod val="60000"/>
              <a:lumOff val="40000"/>
            </a:schemeClr>
          </a:solidFill>
          <a:ln>
            <a:noFill/>
          </a:ln>
          <a:extLst/>
        </p:spPr>
        <p:txBody>
          <a:bodyPr vert="horz" wrap="square" lIns="69917" tIns="34958" rIns="69917" bIns="34958" numCol="1" anchor="t" anchorCtr="0" compatLnSpc="1">
            <a:prstTxWarp prst="textNoShape">
              <a:avLst/>
            </a:prstTxWarp>
          </a:bodyPr>
          <a:lstStyle/>
          <a:p>
            <a:pPr defTabSz="932597"/>
            <a:endParaRPr lang="en-US" sz="2000">
              <a:solidFill>
                <a:srgbClr val="0078D7">
                  <a:lumMod val="75000"/>
                </a:srgbClr>
              </a:solidFill>
            </a:endParaRPr>
          </a:p>
        </p:txBody>
      </p:sp>
      <p:sp>
        <p:nvSpPr>
          <p:cNvPr id="10" name="Rounded Rectangle 9"/>
          <p:cNvSpPr/>
          <p:nvPr>
            <p:custDataLst>
              <p:tags r:id="rId2"/>
            </p:custDataLst>
          </p:nvPr>
        </p:nvSpPr>
        <p:spPr bwMode="auto">
          <a:xfrm>
            <a:off x="2949930" y="3360832"/>
            <a:ext cx="7422574" cy="2571382"/>
          </a:xfrm>
          <a:prstGeom prst="roundRect">
            <a:avLst/>
          </a:prstGeom>
          <a:solidFill>
            <a:schemeClr val="bg2">
              <a:lumMod val="60000"/>
              <a:lumOff val="40000"/>
            </a:schemeClr>
          </a:solidFill>
          <a:ln w="76200">
            <a:solidFill>
              <a:schemeClr val="accent2">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3908" tIns="41954" rIns="83908" bIns="41954" numCol="1" rtlCol="0" anchor="ctr" anchorCtr="0" compatLnSpc="1">
            <a:prstTxWarp prst="textNoShape">
              <a:avLst/>
            </a:prstTxWarp>
          </a:bodyPr>
          <a:lstStyle/>
          <a:p>
            <a:pPr algn="ctr" defTabSz="838846"/>
            <a:endParaRPr lang="en-US" sz="3200" dirty="0">
              <a:solidFill>
                <a:srgbClr val="0078D7">
                  <a:lumMod val="75000"/>
                </a:srgbClr>
              </a:solidFill>
            </a:endParaRPr>
          </a:p>
        </p:txBody>
      </p:sp>
      <p:sp>
        <p:nvSpPr>
          <p:cNvPr id="98" name="Freeform 128"/>
          <p:cNvSpPr>
            <a:spLocks noChangeAspect="1"/>
          </p:cNvSpPr>
          <p:nvPr/>
        </p:nvSpPr>
        <p:spPr bwMode="black">
          <a:xfrm>
            <a:off x="2843969" y="216752"/>
            <a:ext cx="5615189" cy="2867039"/>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2">
              <a:lumMod val="60000"/>
              <a:lumOff val="40000"/>
            </a:schemeClr>
          </a:solidFill>
          <a:ln w="76200">
            <a:solidFill>
              <a:schemeClr val="accent2"/>
            </a:solidFill>
          </a:ln>
          <a:extLst/>
        </p:spPr>
        <p:txBody>
          <a:bodyPr vert="horz" wrap="square" lIns="68543" tIns="34272" rIns="68543" bIns="34272" numCol="1" anchor="t" anchorCtr="0" compatLnSpc="1">
            <a:prstTxWarp prst="textNoShape">
              <a:avLst/>
            </a:prstTxWarp>
          </a:bodyPr>
          <a:lstStyle/>
          <a:p>
            <a:pPr defTabSz="699037"/>
            <a:endParaRPr lang="en-US">
              <a:solidFill>
                <a:srgbClr val="0078D7">
                  <a:lumMod val="75000"/>
                </a:srgbClr>
              </a:solidFill>
            </a:endParaRPr>
          </a:p>
        </p:txBody>
      </p:sp>
      <p:grpSp>
        <p:nvGrpSpPr>
          <p:cNvPr id="2" name="Group 1"/>
          <p:cNvGrpSpPr/>
          <p:nvPr/>
        </p:nvGrpSpPr>
        <p:grpSpPr>
          <a:xfrm>
            <a:off x="6123331" y="834413"/>
            <a:ext cx="1618906" cy="1432773"/>
            <a:chOff x="6153305" y="1104296"/>
            <a:chExt cx="1618906" cy="1432773"/>
          </a:xfrm>
        </p:grpSpPr>
        <p:grpSp>
          <p:nvGrpSpPr>
            <p:cNvPr id="80" name="Group 4"/>
            <p:cNvGrpSpPr>
              <a:grpSpLocks noChangeAspect="1"/>
            </p:cNvGrpSpPr>
            <p:nvPr/>
          </p:nvGrpSpPr>
          <p:grpSpPr bwMode="auto">
            <a:xfrm>
              <a:off x="6845958" y="1831731"/>
              <a:ext cx="709814" cy="705338"/>
              <a:chOff x="3125" y="1415"/>
              <a:chExt cx="1586" cy="1576"/>
            </a:xfrm>
            <a:solidFill>
              <a:schemeClr val="tx2"/>
            </a:solidFill>
          </p:grpSpPr>
          <p:sp>
            <p:nvSpPr>
              <p:cNvPr id="83" name="Freeform 5"/>
              <p:cNvSpPr>
                <a:spLocks/>
              </p:cNvSpPr>
              <p:nvPr/>
            </p:nvSpPr>
            <p:spPr bwMode="auto">
              <a:xfrm>
                <a:off x="3942" y="2006"/>
                <a:ext cx="273" cy="494"/>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35" tIns="34968" rIns="69935" bIns="34968" numCol="1" anchor="t" anchorCtr="0" compatLnSpc="1">
                <a:prstTxWarp prst="textNoShape">
                  <a:avLst/>
                </a:prstTxWarp>
              </a:bodyPr>
              <a:lstStyle/>
              <a:p>
                <a:pPr defTabSz="932597"/>
                <a:endParaRPr lang="en-US">
                  <a:solidFill>
                    <a:srgbClr val="0078D7">
                      <a:lumMod val="75000"/>
                    </a:srgbClr>
                  </a:solidFill>
                </a:endParaRPr>
              </a:p>
            </p:txBody>
          </p:sp>
          <p:sp>
            <p:nvSpPr>
              <p:cNvPr id="84" name="Freeform 6"/>
              <p:cNvSpPr>
                <a:spLocks/>
              </p:cNvSpPr>
              <p:nvPr/>
            </p:nvSpPr>
            <p:spPr bwMode="auto">
              <a:xfrm>
                <a:off x="3600" y="2013"/>
                <a:ext cx="275" cy="487"/>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35" tIns="34968" rIns="69935" bIns="34968" numCol="1" anchor="t" anchorCtr="0" compatLnSpc="1">
                <a:prstTxWarp prst="textNoShape">
                  <a:avLst/>
                </a:prstTxWarp>
              </a:bodyPr>
              <a:lstStyle/>
              <a:p>
                <a:pPr defTabSz="932597"/>
                <a:endParaRPr lang="en-US">
                  <a:solidFill>
                    <a:srgbClr val="0078D7">
                      <a:lumMod val="75000"/>
                    </a:srgbClr>
                  </a:solidFill>
                </a:endParaRPr>
              </a:p>
            </p:txBody>
          </p:sp>
          <p:sp>
            <p:nvSpPr>
              <p:cNvPr id="85" name="Freeform 7"/>
              <p:cNvSpPr>
                <a:spLocks noEditPoints="1"/>
              </p:cNvSpPr>
              <p:nvPr/>
            </p:nvSpPr>
            <p:spPr bwMode="auto">
              <a:xfrm>
                <a:off x="3125" y="1415"/>
                <a:ext cx="1586" cy="1576"/>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35" tIns="34968" rIns="69935" bIns="34968" numCol="1" anchor="t" anchorCtr="0" compatLnSpc="1">
                <a:prstTxWarp prst="textNoShape">
                  <a:avLst/>
                </a:prstTxWarp>
              </a:bodyPr>
              <a:lstStyle/>
              <a:p>
                <a:pPr defTabSz="932597"/>
                <a:endParaRPr lang="en-US">
                  <a:solidFill>
                    <a:srgbClr val="0078D7">
                      <a:lumMod val="75000"/>
                    </a:srgbClr>
                  </a:solidFill>
                </a:endParaRPr>
              </a:p>
            </p:txBody>
          </p:sp>
        </p:grpSp>
        <p:grpSp>
          <p:nvGrpSpPr>
            <p:cNvPr id="22" name="Group 21"/>
            <p:cNvGrpSpPr/>
            <p:nvPr/>
          </p:nvGrpSpPr>
          <p:grpSpPr>
            <a:xfrm>
              <a:off x="6153305" y="1104296"/>
              <a:ext cx="1618906" cy="548029"/>
              <a:chOff x="7514504" y="663534"/>
              <a:chExt cx="2158848" cy="730808"/>
            </a:xfrm>
          </p:grpSpPr>
          <p:sp>
            <p:nvSpPr>
              <p:cNvPr id="81" name="Rectangle 80"/>
              <p:cNvSpPr/>
              <p:nvPr/>
            </p:nvSpPr>
            <p:spPr>
              <a:xfrm>
                <a:off x="7514504" y="1024958"/>
                <a:ext cx="2158848" cy="369384"/>
              </a:xfrm>
              <a:prstGeom prst="rect">
                <a:avLst/>
              </a:prstGeom>
              <a:ln>
                <a:noFill/>
              </a:ln>
            </p:spPr>
            <p:txBody>
              <a:bodyPr wrap="none" lIns="0" tIns="0" rIns="0" bIns="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855521"/>
                <a:r>
                  <a:rPr lang="en-US" dirty="0">
                    <a:ln>
                      <a:solidFill>
                        <a:srgbClr val="FFFFFF">
                          <a:alpha val="0"/>
                        </a:srgbClr>
                      </a:solidFill>
                    </a:ln>
                    <a:solidFill>
                      <a:srgbClr val="0078D7">
                        <a:lumMod val="75000"/>
                      </a:srgbClr>
                    </a:solidFill>
                  </a:rPr>
                  <a:t>Active Directory</a:t>
                </a:r>
              </a:p>
            </p:txBody>
          </p:sp>
          <p:pic>
            <p:nvPicPr>
              <p:cNvPr id="82" name="Picture 8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660479" y="663534"/>
                <a:ext cx="1920070" cy="445184"/>
              </a:xfrm>
              <a:prstGeom prst="rect">
                <a:avLst/>
              </a:prstGeom>
            </p:spPr>
          </p:pic>
        </p:grpSp>
      </p:grpSp>
      <p:grpSp>
        <p:nvGrpSpPr>
          <p:cNvPr id="3" name="Group 2"/>
          <p:cNvGrpSpPr/>
          <p:nvPr/>
        </p:nvGrpSpPr>
        <p:grpSpPr>
          <a:xfrm>
            <a:off x="3240185" y="3811856"/>
            <a:ext cx="584712" cy="729530"/>
            <a:chOff x="4530698" y="4378709"/>
            <a:chExt cx="584712" cy="729530"/>
          </a:xfrm>
        </p:grpSpPr>
        <p:sp>
          <p:nvSpPr>
            <p:cNvPr id="51" name="Rectangle 50"/>
            <p:cNvSpPr/>
            <p:nvPr/>
          </p:nvSpPr>
          <p:spPr>
            <a:xfrm>
              <a:off x="4553299" y="4769685"/>
              <a:ext cx="549831" cy="338554"/>
            </a:xfrm>
            <a:prstGeom prst="rect">
              <a:avLst/>
            </a:prstGeom>
          </p:spPr>
          <p:txBody>
            <a:bodyPr wrap="none" lIns="0" tIns="0" rIns="0" bIns="0" anchor="b">
              <a:spAutoFit/>
            </a:bodyPr>
            <a:lstStyle/>
            <a:p>
              <a:pPr algn="ctr" defTabSz="838560"/>
              <a:r>
                <a:rPr lang="en-US" sz="1100" dirty="0">
                  <a:ln w="0"/>
                  <a:solidFill>
                    <a:srgbClr val="FFFFFF"/>
                  </a:solidFill>
                  <a:effectLst>
                    <a:outerShdw blurRad="38100" dist="19050" dir="2700000" algn="tl" rotWithShape="0">
                      <a:srgbClr val="505050">
                        <a:alpha val="40000"/>
                      </a:srgbClr>
                    </a:outerShdw>
                  </a:effectLst>
                </a:rPr>
                <a:t>Apps on</a:t>
              </a:r>
            </a:p>
            <a:p>
              <a:pPr algn="ctr" defTabSz="838560"/>
              <a:r>
                <a:rPr lang="en-US" sz="1100" dirty="0">
                  <a:ln w="0"/>
                  <a:solidFill>
                    <a:srgbClr val="FFFFFF"/>
                  </a:solidFill>
                  <a:effectLst>
                    <a:outerShdw blurRad="38100" dist="19050" dir="2700000" algn="tl" rotWithShape="0">
                      <a:srgbClr val="505050">
                        <a:alpha val="40000"/>
                      </a:srgbClr>
                    </a:outerShdw>
                  </a:effectLst>
                </a:rPr>
                <a:t>Premises</a:t>
              </a:r>
            </a:p>
          </p:txBody>
        </p:sp>
        <p:grpSp>
          <p:nvGrpSpPr>
            <p:cNvPr id="52" name="Group 51"/>
            <p:cNvGrpSpPr/>
            <p:nvPr/>
          </p:nvGrpSpPr>
          <p:grpSpPr>
            <a:xfrm>
              <a:off x="4530698" y="4378709"/>
              <a:ext cx="584712" cy="410287"/>
              <a:chOff x="10569516" y="1145027"/>
              <a:chExt cx="764507" cy="536449"/>
            </a:xfrm>
          </p:grpSpPr>
          <p:sp>
            <p:nvSpPr>
              <p:cNvPr id="53" name="Freeform 5"/>
              <p:cNvSpPr>
                <a:spLocks noEditPoints="1"/>
              </p:cNvSpPr>
              <p:nvPr/>
            </p:nvSpPr>
            <p:spPr bwMode="auto">
              <a:xfrm>
                <a:off x="10569516" y="1145027"/>
                <a:ext cx="764507" cy="536449"/>
              </a:xfrm>
              <a:custGeom>
                <a:avLst/>
                <a:gdLst>
                  <a:gd name="T0" fmla="*/ 2274 w 2350"/>
                  <a:gd name="T1" fmla="*/ 0 h 1648"/>
                  <a:gd name="T2" fmla="*/ 76 w 2350"/>
                  <a:gd name="T3" fmla="*/ 0 h 1648"/>
                  <a:gd name="T4" fmla="*/ 0 w 2350"/>
                  <a:gd name="T5" fmla="*/ 75 h 1648"/>
                  <a:gd name="T6" fmla="*/ 0 w 2350"/>
                  <a:gd name="T7" fmla="*/ 1573 h 1648"/>
                  <a:gd name="T8" fmla="*/ 76 w 2350"/>
                  <a:gd name="T9" fmla="*/ 1648 h 1648"/>
                  <a:gd name="T10" fmla="*/ 2274 w 2350"/>
                  <a:gd name="T11" fmla="*/ 1648 h 1648"/>
                  <a:gd name="T12" fmla="*/ 2350 w 2350"/>
                  <a:gd name="T13" fmla="*/ 1573 h 1648"/>
                  <a:gd name="T14" fmla="*/ 2350 w 2350"/>
                  <a:gd name="T15" fmla="*/ 75 h 1648"/>
                  <a:gd name="T16" fmla="*/ 2274 w 2350"/>
                  <a:gd name="T17" fmla="*/ 0 h 1648"/>
                  <a:gd name="T18" fmla="*/ 2217 w 2350"/>
                  <a:gd name="T19" fmla="*/ 1454 h 1648"/>
                  <a:gd name="T20" fmla="*/ 2151 w 2350"/>
                  <a:gd name="T21" fmla="*/ 1516 h 1648"/>
                  <a:gd name="T22" fmla="*/ 199 w 2350"/>
                  <a:gd name="T23" fmla="*/ 1516 h 1648"/>
                  <a:gd name="T24" fmla="*/ 133 w 2350"/>
                  <a:gd name="T25" fmla="*/ 1454 h 1648"/>
                  <a:gd name="T26" fmla="*/ 133 w 2350"/>
                  <a:gd name="T27" fmla="*/ 199 h 1648"/>
                  <a:gd name="T28" fmla="*/ 199 w 2350"/>
                  <a:gd name="T29" fmla="*/ 132 h 1648"/>
                  <a:gd name="T30" fmla="*/ 2151 w 2350"/>
                  <a:gd name="T31" fmla="*/ 132 h 1648"/>
                  <a:gd name="T32" fmla="*/ 2217 w 2350"/>
                  <a:gd name="T33" fmla="*/ 199 h 1648"/>
                  <a:gd name="T34" fmla="*/ 2217 w 2350"/>
                  <a:gd name="T35" fmla="*/ 1454 h 1648"/>
                  <a:gd name="T36" fmla="*/ 2217 w 2350"/>
                  <a:gd name="T37" fmla="*/ 1454 h 1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50" h="1648">
                    <a:moveTo>
                      <a:pt x="2274" y="0"/>
                    </a:moveTo>
                    <a:cubicBezTo>
                      <a:pt x="76" y="0"/>
                      <a:pt x="76" y="0"/>
                      <a:pt x="76" y="0"/>
                    </a:cubicBezTo>
                    <a:cubicBezTo>
                      <a:pt x="31" y="0"/>
                      <a:pt x="0" y="35"/>
                      <a:pt x="0" y="75"/>
                    </a:cubicBezTo>
                    <a:cubicBezTo>
                      <a:pt x="0" y="1573"/>
                      <a:pt x="0" y="1573"/>
                      <a:pt x="0" y="1573"/>
                    </a:cubicBezTo>
                    <a:cubicBezTo>
                      <a:pt x="0" y="1617"/>
                      <a:pt x="31" y="1648"/>
                      <a:pt x="76" y="1648"/>
                    </a:cubicBezTo>
                    <a:cubicBezTo>
                      <a:pt x="2274" y="1648"/>
                      <a:pt x="2274" y="1648"/>
                      <a:pt x="2274" y="1648"/>
                    </a:cubicBezTo>
                    <a:cubicBezTo>
                      <a:pt x="2319" y="1648"/>
                      <a:pt x="2350" y="1617"/>
                      <a:pt x="2350" y="1573"/>
                    </a:cubicBezTo>
                    <a:cubicBezTo>
                      <a:pt x="2350" y="75"/>
                      <a:pt x="2350" y="75"/>
                      <a:pt x="2350" y="75"/>
                    </a:cubicBezTo>
                    <a:cubicBezTo>
                      <a:pt x="2350" y="35"/>
                      <a:pt x="2319" y="0"/>
                      <a:pt x="2274" y="0"/>
                    </a:cubicBezTo>
                    <a:close/>
                    <a:moveTo>
                      <a:pt x="2217" y="1454"/>
                    </a:moveTo>
                    <a:cubicBezTo>
                      <a:pt x="2217" y="1489"/>
                      <a:pt x="2186" y="1516"/>
                      <a:pt x="2151" y="1516"/>
                    </a:cubicBezTo>
                    <a:cubicBezTo>
                      <a:pt x="199" y="1516"/>
                      <a:pt x="199" y="1516"/>
                      <a:pt x="199" y="1516"/>
                    </a:cubicBezTo>
                    <a:cubicBezTo>
                      <a:pt x="164" y="1516"/>
                      <a:pt x="133" y="1489"/>
                      <a:pt x="133" y="1454"/>
                    </a:cubicBezTo>
                    <a:cubicBezTo>
                      <a:pt x="133" y="199"/>
                      <a:pt x="133" y="199"/>
                      <a:pt x="133" y="199"/>
                    </a:cubicBezTo>
                    <a:cubicBezTo>
                      <a:pt x="133" y="163"/>
                      <a:pt x="164" y="132"/>
                      <a:pt x="199" y="132"/>
                    </a:cubicBezTo>
                    <a:cubicBezTo>
                      <a:pt x="2151" y="132"/>
                      <a:pt x="2151" y="132"/>
                      <a:pt x="2151" y="132"/>
                    </a:cubicBezTo>
                    <a:cubicBezTo>
                      <a:pt x="2186" y="132"/>
                      <a:pt x="2217" y="163"/>
                      <a:pt x="2217" y="199"/>
                    </a:cubicBezTo>
                    <a:cubicBezTo>
                      <a:pt x="2217" y="1454"/>
                      <a:pt x="2217" y="1454"/>
                      <a:pt x="2217" y="1454"/>
                    </a:cubicBezTo>
                    <a:cubicBezTo>
                      <a:pt x="2217" y="1454"/>
                      <a:pt x="2217" y="1454"/>
                      <a:pt x="2217" y="1454"/>
                    </a:cubicBezTo>
                    <a:close/>
                  </a:path>
                </a:pathLst>
              </a:custGeom>
              <a:solidFill>
                <a:srgbClr val="FFFFFF"/>
              </a:solidFill>
              <a:ln>
                <a:noFill/>
              </a:ln>
              <a:extLst/>
            </p:spPr>
            <p:txBody>
              <a:bodyPr vert="horz" wrap="square" lIns="69935" tIns="34968" rIns="69935" bIns="34968" numCol="1" anchor="t" anchorCtr="0" compatLnSpc="1">
                <a:prstTxWarp prst="textNoShape">
                  <a:avLst/>
                </a:prstTxWarp>
              </a:bodyPr>
              <a:lstStyle/>
              <a:p>
                <a:pPr defTabSz="713230">
                  <a:defRPr/>
                </a:pPr>
                <a:endParaRPr lang="en-US" kern="0">
                  <a:solidFill>
                    <a:srgbClr val="0078D7">
                      <a:lumMod val="75000"/>
                    </a:srgbClr>
                  </a:solidFill>
                </a:endParaRPr>
              </a:p>
            </p:txBody>
          </p:sp>
          <p:pic>
            <p:nvPicPr>
              <p:cNvPr id="54" name="Picture 53"/>
              <p:cNvPicPr>
                <a:picLocks noChangeAspect="1"/>
              </p:cNvPicPr>
              <p:nvPr/>
            </p:nvPicPr>
            <p:blipFill rotWithShape="1">
              <a:blip r:embed="rId6" cstate="print">
                <a:extLst>
                  <a:ext uri="{28A0092B-C50C-407E-A947-70E740481C1C}">
                    <a14:useLocalDpi xmlns:a14="http://schemas.microsoft.com/office/drawing/2010/main" val="0"/>
                  </a:ext>
                </a:extLst>
              </a:blip>
              <a:srcRect t="1475" b="1715"/>
              <a:stretch/>
            </p:blipFill>
            <p:spPr>
              <a:xfrm>
                <a:off x="10733900" y="1210100"/>
                <a:ext cx="425042" cy="411480"/>
              </a:xfrm>
              <a:prstGeom prst="rect">
                <a:avLst/>
              </a:prstGeom>
            </p:spPr>
          </p:pic>
        </p:grpSp>
      </p:grpSp>
      <p:grpSp>
        <p:nvGrpSpPr>
          <p:cNvPr id="25" name="Group 24"/>
          <p:cNvGrpSpPr/>
          <p:nvPr/>
        </p:nvGrpSpPr>
        <p:grpSpPr>
          <a:xfrm>
            <a:off x="8533056" y="3857451"/>
            <a:ext cx="1282165" cy="364692"/>
            <a:chOff x="5819327" y="5364733"/>
            <a:chExt cx="1282165" cy="364692"/>
          </a:xfrm>
        </p:grpSpPr>
        <p:sp>
          <p:nvSpPr>
            <p:cNvPr id="74" name="Rectangle 73"/>
            <p:cNvSpPr/>
            <p:nvPr/>
          </p:nvSpPr>
          <p:spPr>
            <a:xfrm>
              <a:off x="6374502" y="5385961"/>
              <a:ext cx="726990" cy="343464"/>
            </a:xfrm>
            <a:prstGeom prst="rect">
              <a:avLst/>
            </a:prstGeom>
            <a:noFill/>
            <a:ln>
              <a:noFill/>
            </a:ln>
          </p:spPr>
          <p:txBody>
            <a:bodyPr wrap="square" lIns="0" tIns="0" rIns="0" bIns="0" anchor="ctr" anchorCtr="0">
              <a:noAutofit/>
            </a:bodyPr>
            <a:lstStyle/>
            <a:p>
              <a:pPr defTabSz="838811">
                <a:spcBef>
                  <a:spcPts val="1101"/>
                </a:spcBef>
              </a:pPr>
              <a:r>
                <a:rPr lang="en-US" sz="1200" dirty="0">
                  <a:ln w="0"/>
                  <a:solidFill>
                    <a:srgbClr val="FFFFFF"/>
                  </a:solidFill>
                  <a:effectLst>
                    <a:outerShdw blurRad="38100" dist="19050" dir="2700000" algn="tl" rotWithShape="0">
                      <a:srgbClr val="505050">
                        <a:alpha val="40000"/>
                      </a:srgbClr>
                    </a:outerShdw>
                  </a:effectLst>
                </a:rPr>
                <a:t>File Servers, Printers</a:t>
              </a:r>
              <a:r>
                <a:rPr lang="en-US" sz="1200" dirty="0">
                  <a:ln>
                    <a:solidFill>
                      <a:srgbClr val="FFFFFF">
                        <a:alpha val="0"/>
                      </a:srgbClr>
                    </a:solidFill>
                  </a:ln>
                  <a:solidFill>
                    <a:srgbClr val="0078D7">
                      <a:lumMod val="75000"/>
                    </a:srgbClr>
                  </a:solidFill>
                </a:rPr>
                <a:t>…</a:t>
              </a:r>
            </a:p>
          </p:txBody>
        </p:sp>
        <p:grpSp>
          <p:nvGrpSpPr>
            <p:cNvPr id="76" name="Group 75"/>
            <p:cNvGrpSpPr/>
            <p:nvPr/>
          </p:nvGrpSpPr>
          <p:grpSpPr>
            <a:xfrm>
              <a:off x="5819327" y="5364733"/>
              <a:ext cx="443446" cy="354300"/>
              <a:chOff x="5918883" y="5459226"/>
              <a:chExt cx="591344" cy="472467"/>
            </a:xfrm>
          </p:grpSpPr>
          <p:sp>
            <p:nvSpPr>
              <p:cNvPr id="77" name="Freeform 836"/>
              <p:cNvSpPr>
                <a:spLocks noEditPoints="1"/>
              </p:cNvSpPr>
              <p:nvPr/>
            </p:nvSpPr>
            <p:spPr bwMode="auto">
              <a:xfrm>
                <a:off x="6109572" y="5459226"/>
                <a:ext cx="240009" cy="383443"/>
              </a:xfrm>
              <a:custGeom>
                <a:avLst/>
                <a:gdLst>
                  <a:gd name="T0" fmla="*/ 1845 w 2151"/>
                  <a:gd name="T1" fmla="*/ 3532 h 4079"/>
                  <a:gd name="T2" fmla="*/ 1916 w 2151"/>
                  <a:gd name="T3" fmla="*/ 3672 h 4079"/>
                  <a:gd name="T4" fmla="*/ 305 w 2151"/>
                  <a:gd name="T5" fmla="*/ 3290 h 4079"/>
                  <a:gd name="T6" fmla="*/ 234 w 2151"/>
                  <a:gd name="T7" fmla="*/ 3151 h 4079"/>
                  <a:gd name="T8" fmla="*/ 234 w 2151"/>
                  <a:gd name="T9" fmla="*/ 3151 h 4079"/>
                  <a:gd name="T10" fmla="*/ 556 w 2151"/>
                  <a:gd name="T11" fmla="*/ 2914 h 4079"/>
                  <a:gd name="T12" fmla="*/ 628 w 2151"/>
                  <a:gd name="T13" fmla="*/ 3053 h 4079"/>
                  <a:gd name="T14" fmla="*/ 305 w 2151"/>
                  <a:gd name="T15" fmla="*/ 954 h 4079"/>
                  <a:gd name="T16" fmla="*/ 234 w 2151"/>
                  <a:gd name="T17" fmla="*/ 745 h 4079"/>
                  <a:gd name="T18" fmla="*/ 234 w 2151"/>
                  <a:gd name="T19" fmla="*/ 745 h 4079"/>
                  <a:gd name="T20" fmla="*/ 1845 w 2151"/>
                  <a:gd name="T21" fmla="*/ 483 h 4079"/>
                  <a:gd name="T22" fmla="*/ 1916 w 2151"/>
                  <a:gd name="T23" fmla="*/ 694 h 4079"/>
                  <a:gd name="T24" fmla="*/ 292 w 2151"/>
                  <a:gd name="T25" fmla="*/ 74 h 4079"/>
                  <a:gd name="T26" fmla="*/ 214 w 2151"/>
                  <a:gd name="T27" fmla="*/ 90 h 4079"/>
                  <a:gd name="T28" fmla="*/ 142 w 2151"/>
                  <a:gd name="T29" fmla="*/ 132 h 4079"/>
                  <a:gd name="T30" fmla="*/ 92 w 2151"/>
                  <a:gd name="T31" fmla="*/ 197 h 4079"/>
                  <a:gd name="T32" fmla="*/ 73 w 2151"/>
                  <a:gd name="T33" fmla="*/ 259 h 4079"/>
                  <a:gd name="T34" fmla="*/ 73 w 2151"/>
                  <a:gd name="T35" fmla="*/ 3820 h 4079"/>
                  <a:gd name="T36" fmla="*/ 102 w 2151"/>
                  <a:gd name="T37" fmla="*/ 3902 h 4079"/>
                  <a:gd name="T38" fmla="*/ 160 w 2151"/>
                  <a:gd name="T39" fmla="*/ 3961 h 4079"/>
                  <a:gd name="T40" fmla="*/ 238 w 2151"/>
                  <a:gd name="T41" fmla="*/ 3997 h 4079"/>
                  <a:gd name="T42" fmla="*/ 313 w 2151"/>
                  <a:gd name="T43" fmla="*/ 4007 h 4079"/>
                  <a:gd name="T44" fmla="*/ 1887 w 2151"/>
                  <a:gd name="T45" fmla="*/ 4003 h 4079"/>
                  <a:gd name="T46" fmla="*/ 1979 w 2151"/>
                  <a:gd name="T47" fmla="*/ 3969 h 4079"/>
                  <a:gd name="T48" fmla="*/ 2042 w 2151"/>
                  <a:gd name="T49" fmla="*/ 3912 h 4079"/>
                  <a:gd name="T50" fmla="*/ 2070 w 2151"/>
                  <a:gd name="T51" fmla="*/ 3861 h 4079"/>
                  <a:gd name="T52" fmla="*/ 2079 w 2151"/>
                  <a:gd name="T53" fmla="*/ 3803 h 4079"/>
                  <a:gd name="T54" fmla="*/ 2074 w 2151"/>
                  <a:gd name="T55" fmla="*/ 236 h 4079"/>
                  <a:gd name="T56" fmla="*/ 2049 w 2151"/>
                  <a:gd name="T57" fmla="*/ 176 h 4079"/>
                  <a:gd name="T58" fmla="*/ 1992 w 2151"/>
                  <a:gd name="T59" fmla="*/ 118 h 4079"/>
                  <a:gd name="T60" fmla="*/ 1914 w 2151"/>
                  <a:gd name="T61" fmla="*/ 82 h 4079"/>
                  <a:gd name="T62" fmla="*/ 1839 w 2151"/>
                  <a:gd name="T63" fmla="*/ 72 h 4079"/>
                  <a:gd name="T64" fmla="*/ 1867 w 2151"/>
                  <a:gd name="T65" fmla="*/ 2 h 4079"/>
                  <a:gd name="T66" fmla="*/ 1953 w 2151"/>
                  <a:gd name="T67" fmla="*/ 20 h 4079"/>
                  <a:gd name="T68" fmla="*/ 2029 w 2151"/>
                  <a:gd name="T69" fmla="*/ 59 h 4079"/>
                  <a:gd name="T70" fmla="*/ 2093 w 2151"/>
                  <a:gd name="T71" fmla="*/ 117 h 4079"/>
                  <a:gd name="T72" fmla="*/ 2136 w 2151"/>
                  <a:gd name="T73" fmla="*/ 191 h 4079"/>
                  <a:gd name="T74" fmla="*/ 2150 w 2151"/>
                  <a:gd name="T75" fmla="*/ 252 h 4079"/>
                  <a:gd name="T76" fmla="*/ 2149 w 2151"/>
                  <a:gd name="T77" fmla="*/ 3835 h 4079"/>
                  <a:gd name="T78" fmla="*/ 2126 w 2151"/>
                  <a:gd name="T79" fmla="*/ 3911 h 4079"/>
                  <a:gd name="T80" fmla="*/ 2077 w 2151"/>
                  <a:gd name="T81" fmla="*/ 3981 h 4079"/>
                  <a:gd name="T82" fmla="*/ 2008 w 2151"/>
                  <a:gd name="T83" fmla="*/ 4034 h 4079"/>
                  <a:gd name="T84" fmla="*/ 1929 w 2151"/>
                  <a:gd name="T85" fmla="*/ 4068 h 4079"/>
                  <a:gd name="T86" fmla="*/ 1839 w 2151"/>
                  <a:gd name="T87" fmla="*/ 4079 h 4079"/>
                  <a:gd name="T88" fmla="*/ 250 w 2151"/>
                  <a:gd name="T89" fmla="*/ 4074 h 4079"/>
                  <a:gd name="T90" fmla="*/ 167 w 2151"/>
                  <a:gd name="T91" fmla="*/ 4047 h 4079"/>
                  <a:gd name="T92" fmla="*/ 92 w 2151"/>
                  <a:gd name="T93" fmla="*/ 3998 h 4079"/>
                  <a:gd name="T94" fmla="*/ 36 w 2151"/>
                  <a:gd name="T95" fmla="*/ 3932 h 4079"/>
                  <a:gd name="T96" fmla="*/ 7 w 2151"/>
                  <a:gd name="T97" fmla="*/ 3859 h 4079"/>
                  <a:gd name="T98" fmla="*/ 0 w 2151"/>
                  <a:gd name="T99" fmla="*/ 277 h 4079"/>
                  <a:gd name="T100" fmla="*/ 14 w 2151"/>
                  <a:gd name="T101" fmla="*/ 197 h 4079"/>
                  <a:gd name="T102" fmla="*/ 45 w 2151"/>
                  <a:gd name="T103" fmla="*/ 137 h 4079"/>
                  <a:gd name="T104" fmla="*/ 112 w 2151"/>
                  <a:gd name="T105" fmla="*/ 66 h 4079"/>
                  <a:gd name="T106" fmla="*/ 191 w 2151"/>
                  <a:gd name="T107" fmla="*/ 23 h 4079"/>
                  <a:gd name="T108" fmla="*/ 277 w 2151"/>
                  <a:gd name="T109" fmla="*/ 3 h 40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51" h="4079">
                    <a:moveTo>
                      <a:pt x="305" y="3532"/>
                    </a:moveTo>
                    <a:lnTo>
                      <a:pt x="305" y="3600"/>
                    </a:lnTo>
                    <a:lnTo>
                      <a:pt x="1845" y="3600"/>
                    </a:lnTo>
                    <a:lnTo>
                      <a:pt x="1845" y="3532"/>
                    </a:lnTo>
                    <a:lnTo>
                      <a:pt x="305" y="3532"/>
                    </a:lnTo>
                    <a:close/>
                    <a:moveTo>
                      <a:pt x="234" y="3460"/>
                    </a:moveTo>
                    <a:lnTo>
                      <a:pt x="1916" y="3460"/>
                    </a:lnTo>
                    <a:lnTo>
                      <a:pt x="1916" y="3672"/>
                    </a:lnTo>
                    <a:lnTo>
                      <a:pt x="234" y="3672"/>
                    </a:lnTo>
                    <a:lnTo>
                      <a:pt x="234" y="3460"/>
                    </a:lnTo>
                    <a:close/>
                    <a:moveTo>
                      <a:pt x="305" y="3223"/>
                    </a:moveTo>
                    <a:lnTo>
                      <a:pt x="305" y="3290"/>
                    </a:lnTo>
                    <a:lnTo>
                      <a:pt x="556" y="3290"/>
                    </a:lnTo>
                    <a:lnTo>
                      <a:pt x="556" y="3223"/>
                    </a:lnTo>
                    <a:lnTo>
                      <a:pt x="305" y="3223"/>
                    </a:lnTo>
                    <a:close/>
                    <a:moveTo>
                      <a:pt x="234" y="3151"/>
                    </a:moveTo>
                    <a:lnTo>
                      <a:pt x="628" y="3151"/>
                    </a:lnTo>
                    <a:lnTo>
                      <a:pt x="628" y="3362"/>
                    </a:lnTo>
                    <a:lnTo>
                      <a:pt x="234" y="3362"/>
                    </a:lnTo>
                    <a:lnTo>
                      <a:pt x="234" y="3151"/>
                    </a:lnTo>
                    <a:close/>
                    <a:moveTo>
                      <a:pt x="305" y="2914"/>
                    </a:moveTo>
                    <a:lnTo>
                      <a:pt x="305" y="2982"/>
                    </a:lnTo>
                    <a:lnTo>
                      <a:pt x="556" y="2982"/>
                    </a:lnTo>
                    <a:lnTo>
                      <a:pt x="556" y="2914"/>
                    </a:lnTo>
                    <a:lnTo>
                      <a:pt x="305" y="2914"/>
                    </a:lnTo>
                    <a:close/>
                    <a:moveTo>
                      <a:pt x="234" y="2842"/>
                    </a:moveTo>
                    <a:lnTo>
                      <a:pt x="628" y="2842"/>
                    </a:lnTo>
                    <a:lnTo>
                      <a:pt x="628" y="3053"/>
                    </a:lnTo>
                    <a:lnTo>
                      <a:pt x="234" y="3053"/>
                    </a:lnTo>
                    <a:lnTo>
                      <a:pt x="234" y="2842"/>
                    </a:lnTo>
                    <a:close/>
                    <a:moveTo>
                      <a:pt x="305" y="817"/>
                    </a:moveTo>
                    <a:lnTo>
                      <a:pt x="305" y="954"/>
                    </a:lnTo>
                    <a:lnTo>
                      <a:pt x="1845" y="954"/>
                    </a:lnTo>
                    <a:lnTo>
                      <a:pt x="1845" y="817"/>
                    </a:lnTo>
                    <a:lnTo>
                      <a:pt x="305" y="817"/>
                    </a:lnTo>
                    <a:close/>
                    <a:moveTo>
                      <a:pt x="234" y="745"/>
                    </a:moveTo>
                    <a:lnTo>
                      <a:pt x="1916" y="745"/>
                    </a:lnTo>
                    <a:lnTo>
                      <a:pt x="1916" y="1026"/>
                    </a:lnTo>
                    <a:lnTo>
                      <a:pt x="234" y="1026"/>
                    </a:lnTo>
                    <a:lnTo>
                      <a:pt x="234" y="745"/>
                    </a:lnTo>
                    <a:close/>
                    <a:moveTo>
                      <a:pt x="305" y="483"/>
                    </a:moveTo>
                    <a:lnTo>
                      <a:pt x="305" y="622"/>
                    </a:lnTo>
                    <a:lnTo>
                      <a:pt x="1845" y="622"/>
                    </a:lnTo>
                    <a:lnTo>
                      <a:pt x="1845" y="483"/>
                    </a:lnTo>
                    <a:lnTo>
                      <a:pt x="305" y="483"/>
                    </a:lnTo>
                    <a:close/>
                    <a:moveTo>
                      <a:pt x="234" y="412"/>
                    </a:moveTo>
                    <a:lnTo>
                      <a:pt x="1916" y="412"/>
                    </a:lnTo>
                    <a:lnTo>
                      <a:pt x="1916" y="694"/>
                    </a:lnTo>
                    <a:lnTo>
                      <a:pt x="234" y="694"/>
                    </a:lnTo>
                    <a:lnTo>
                      <a:pt x="234" y="412"/>
                    </a:lnTo>
                    <a:close/>
                    <a:moveTo>
                      <a:pt x="313" y="72"/>
                    </a:moveTo>
                    <a:lnTo>
                      <a:pt x="292" y="74"/>
                    </a:lnTo>
                    <a:lnTo>
                      <a:pt x="292" y="74"/>
                    </a:lnTo>
                    <a:lnTo>
                      <a:pt x="265" y="76"/>
                    </a:lnTo>
                    <a:lnTo>
                      <a:pt x="238" y="82"/>
                    </a:lnTo>
                    <a:lnTo>
                      <a:pt x="214" y="90"/>
                    </a:lnTo>
                    <a:lnTo>
                      <a:pt x="196" y="98"/>
                    </a:lnTo>
                    <a:lnTo>
                      <a:pt x="172" y="111"/>
                    </a:lnTo>
                    <a:lnTo>
                      <a:pt x="160" y="118"/>
                    </a:lnTo>
                    <a:lnTo>
                      <a:pt x="142" y="132"/>
                    </a:lnTo>
                    <a:lnTo>
                      <a:pt x="125" y="149"/>
                    </a:lnTo>
                    <a:lnTo>
                      <a:pt x="109" y="168"/>
                    </a:lnTo>
                    <a:lnTo>
                      <a:pt x="102" y="178"/>
                    </a:lnTo>
                    <a:lnTo>
                      <a:pt x="92" y="197"/>
                    </a:lnTo>
                    <a:lnTo>
                      <a:pt x="82" y="218"/>
                    </a:lnTo>
                    <a:lnTo>
                      <a:pt x="77" y="236"/>
                    </a:lnTo>
                    <a:lnTo>
                      <a:pt x="73" y="259"/>
                    </a:lnTo>
                    <a:lnTo>
                      <a:pt x="73" y="259"/>
                    </a:lnTo>
                    <a:lnTo>
                      <a:pt x="72" y="277"/>
                    </a:lnTo>
                    <a:lnTo>
                      <a:pt x="72" y="3803"/>
                    </a:lnTo>
                    <a:lnTo>
                      <a:pt x="73" y="3820"/>
                    </a:lnTo>
                    <a:lnTo>
                      <a:pt x="73" y="3820"/>
                    </a:lnTo>
                    <a:lnTo>
                      <a:pt x="77" y="3844"/>
                    </a:lnTo>
                    <a:lnTo>
                      <a:pt x="82" y="3861"/>
                    </a:lnTo>
                    <a:lnTo>
                      <a:pt x="92" y="3882"/>
                    </a:lnTo>
                    <a:lnTo>
                      <a:pt x="102" y="3902"/>
                    </a:lnTo>
                    <a:lnTo>
                      <a:pt x="109" y="3912"/>
                    </a:lnTo>
                    <a:lnTo>
                      <a:pt x="125" y="3930"/>
                    </a:lnTo>
                    <a:lnTo>
                      <a:pt x="142" y="3948"/>
                    </a:lnTo>
                    <a:lnTo>
                      <a:pt x="160" y="3961"/>
                    </a:lnTo>
                    <a:lnTo>
                      <a:pt x="172" y="3969"/>
                    </a:lnTo>
                    <a:lnTo>
                      <a:pt x="196" y="3981"/>
                    </a:lnTo>
                    <a:lnTo>
                      <a:pt x="214" y="3990"/>
                    </a:lnTo>
                    <a:lnTo>
                      <a:pt x="238" y="3997"/>
                    </a:lnTo>
                    <a:lnTo>
                      <a:pt x="265" y="4003"/>
                    </a:lnTo>
                    <a:lnTo>
                      <a:pt x="284" y="4006"/>
                    </a:lnTo>
                    <a:lnTo>
                      <a:pt x="284" y="4006"/>
                    </a:lnTo>
                    <a:lnTo>
                      <a:pt x="313" y="4007"/>
                    </a:lnTo>
                    <a:lnTo>
                      <a:pt x="1839" y="4007"/>
                    </a:lnTo>
                    <a:lnTo>
                      <a:pt x="1867" y="4006"/>
                    </a:lnTo>
                    <a:lnTo>
                      <a:pt x="1867" y="4006"/>
                    </a:lnTo>
                    <a:lnTo>
                      <a:pt x="1887" y="4003"/>
                    </a:lnTo>
                    <a:lnTo>
                      <a:pt x="1914" y="3997"/>
                    </a:lnTo>
                    <a:lnTo>
                      <a:pt x="1937" y="3990"/>
                    </a:lnTo>
                    <a:lnTo>
                      <a:pt x="1956" y="3981"/>
                    </a:lnTo>
                    <a:lnTo>
                      <a:pt x="1979" y="3969"/>
                    </a:lnTo>
                    <a:lnTo>
                      <a:pt x="1992" y="3961"/>
                    </a:lnTo>
                    <a:lnTo>
                      <a:pt x="2009" y="3948"/>
                    </a:lnTo>
                    <a:lnTo>
                      <a:pt x="2026" y="3930"/>
                    </a:lnTo>
                    <a:lnTo>
                      <a:pt x="2042" y="3912"/>
                    </a:lnTo>
                    <a:lnTo>
                      <a:pt x="2049" y="3903"/>
                    </a:lnTo>
                    <a:lnTo>
                      <a:pt x="2049" y="3903"/>
                    </a:lnTo>
                    <a:lnTo>
                      <a:pt x="2060" y="3882"/>
                    </a:lnTo>
                    <a:lnTo>
                      <a:pt x="2070" y="3861"/>
                    </a:lnTo>
                    <a:lnTo>
                      <a:pt x="2074" y="3844"/>
                    </a:lnTo>
                    <a:lnTo>
                      <a:pt x="2078" y="3820"/>
                    </a:lnTo>
                    <a:lnTo>
                      <a:pt x="2078" y="3820"/>
                    </a:lnTo>
                    <a:lnTo>
                      <a:pt x="2079" y="3803"/>
                    </a:lnTo>
                    <a:lnTo>
                      <a:pt x="2079" y="277"/>
                    </a:lnTo>
                    <a:lnTo>
                      <a:pt x="2078" y="259"/>
                    </a:lnTo>
                    <a:lnTo>
                      <a:pt x="2078" y="259"/>
                    </a:lnTo>
                    <a:lnTo>
                      <a:pt x="2074" y="236"/>
                    </a:lnTo>
                    <a:lnTo>
                      <a:pt x="2070" y="218"/>
                    </a:lnTo>
                    <a:lnTo>
                      <a:pt x="2060" y="197"/>
                    </a:lnTo>
                    <a:lnTo>
                      <a:pt x="2049" y="176"/>
                    </a:lnTo>
                    <a:lnTo>
                      <a:pt x="2049" y="176"/>
                    </a:lnTo>
                    <a:lnTo>
                      <a:pt x="2042" y="168"/>
                    </a:lnTo>
                    <a:lnTo>
                      <a:pt x="2026" y="149"/>
                    </a:lnTo>
                    <a:lnTo>
                      <a:pt x="2009" y="132"/>
                    </a:lnTo>
                    <a:lnTo>
                      <a:pt x="1992" y="118"/>
                    </a:lnTo>
                    <a:lnTo>
                      <a:pt x="1979" y="111"/>
                    </a:lnTo>
                    <a:lnTo>
                      <a:pt x="1956" y="98"/>
                    </a:lnTo>
                    <a:lnTo>
                      <a:pt x="1937" y="90"/>
                    </a:lnTo>
                    <a:lnTo>
                      <a:pt x="1914" y="82"/>
                    </a:lnTo>
                    <a:lnTo>
                      <a:pt x="1887" y="76"/>
                    </a:lnTo>
                    <a:lnTo>
                      <a:pt x="1860" y="74"/>
                    </a:lnTo>
                    <a:lnTo>
                      <a:pt x="1860" y="74"/>
                    </a:lnTo>
                    <a:lnTo>
                      <a:pt x="1839" y="72"/>
                    </a:lnTo>
                    <a:lnTo>
                      <a:pt x="313" y="72"/>
                    </a:lnTo>
                    <a:close/>
                    <a:moveTo>
                      <a:pt x="312" y="0"/>
                    </a:moveTo>
                    <a:lnTo>
                      <a:pt x="1840" y="0"/>
                    </a:lnTo>
                    <a:lnTo>
                      <a:pt x="1867" y="2"/>
                    </a:lnTo>
                    <a:lnTo>
                      <a:pt x="1874" y="3"/>
                    </a:lnTo>
                    <a:lnTo>
                      <a:pt x="1902" y="5"/>
                    </a:lnTo>
                    <a:lnTo>
                      <a:pt x="1929" y="12"/>
                    </a:lnTo>
                    <a:lnTo>
                      <a:pt x="1953" y="20"/>
                    </a:lnTo>
                    <a:lnTo>
                      <a:pt x="1961" y="23"/>
                    </a:lnTo>
                    <a:lnTo>
                      <a:pt x="1984" y="33"/>
                    </a:lnTo>
                    <a:lnTo>
                      <a:pt x="2008" y="45"/>
                    </a:lnTo>
                    <a:lnTo>
                      <a:pt x="2029" y="59"/>
                    </a:lnTo>
                    <a:lnTo>
                      <a:pt x="2040" y="66"/>
                    </a:lnTo>
                    <a:lnTo>
                      <a:pt x="2060" y="81"/>
                    </a:lnTo>
                    <a:lnTo>
                      <a:pt x="2077" y="98"/>
                    </a:lnTo>
                    <a:lnTo>
                      <a:pt x="2093" y="117"/>
                    </a:lnTo>
                    <a:lnTo>
                      <a:pt x="2108" y="137"/>
                    </a:lnTo>
                    <a:lnTo>
                      <a:pt x="2115" y="148"/>
                    </a:lnTo>
                    <a:lnTo>
                      <a:pt x="2126" y="169"/>
                    </a:lnTo>
                    <a:lnTo>
                      <a:pt x="2136" y="191"/>
                    </a:lnTo>
                    <a:lnTo>
                      <a:pt x="2137" y="197"/>
                    </a:lnTo>
                    <a:lnTo>
                      <a:pt x="2145" y="221"/>
                    </a:lnTo>
                    <a:lnTo>
                      <a:pt x="2149" y="244"/>
                    </a:lnTo>
                    <a:lnTo>
                      <a:pt x="2150" y="252"/>
                    </a:lnTo>
                    <a:lnTo>
                      <a:pt x="2151" y="274"/>
                    </a:lnTo>
                    <a:lnTo>
                      <a:pt x="2151" y="3805"/>
                    </a:lnTo>
                    <a:lnTo>
                      <a:pt x="2150" y="3828"/>
                    </a:lnTo>
                    <a:lnTo>
                      <a:pt x="2149" y="3835"/>
                    </a:lnTo>
                    <a:lnTo>
                      <a:pt x="2145" y="3859"/>
                    </a:lnTo>
                    <a:lnTo>
                      <a:pt x="2137" y="3882"/>
                    </a:lnTo>
                    <a:lnTo>
                      <a:pt x="2136" y="3888"/>
                    </a:lnTo>
                    <a:lnTo>
                      <a:pt x="2126" y="3911"/>
                    </a:lnTo>
                    <a:lnTo>
                      <a:pt x="2115" y="3932"/>
                    </a:lnTo>
                    <a:lnTo>
                      <a:pt x="2108" y="3943"/>
                    </a:lnTo>
                    <a:lnTo>
                      <a:pt x="2093" y="3963"/>
                    </a:lnTo>
                    <a:lnTo>
                      <a:pt x="2077" y="3981"/>
                    </a:lnTo>
                    <a:lnTo>
                      <a:pt x="2060" y="3998"/>
                    </a:lnTo>
                    <a:lnTo>
                      <a:pt x="2040" y="4013"/>
                    </a:lnTo>
                    <a:lnTo>
                      <a:pt x="2029" y="4021"/>
                    </a:lnTo>
                    <a:lnTo>
                      <a:pt x="2008" y="4034"/>
                    </a:lnTo>
                    <a:lnTo>
                      <a:pt x="1984" y="4047"/>
                    </a:lnTo>
                    <a:lnTo>
                      <a:pt x="1961" y="4057"/>
                    </a:lnTo>
                    <a:lnTo>
                      <a:pt x="1953" y="4059"/>
                    </a:lnTo>
                    <a:lnTo>
                      <a:pt x="1929" y="4068"/>
                    </a:lnTo>
                    <a:lnTo>
                      <a:pt x="1902" y="4074"/>
                    </a:lnTo>
                    <a:lnTo>
                      <a:pt x="1874" y="4078"/>
                    </a:lnTo>
                    <a:lnTo>
                      <a:pt x="1867" y="4078"/>
                    </a:lnTo>
                    <a:lnTo>
                      <a:pt x="1839" y="4079"/>
                    </a:lnTo>
                    <a:lnTo>
                      <a:pt x="313" y="4079"/>
                    </a:lnTo>
                    <a:lnTo>
                      <a:pt x="284" y="4078"/>
                    </a:lnTo>
                    <a:lnTo>
                      <a:pt x="277" y="4078"/>
                    </a:lnTo>
                    <a:lnTo>
                      <a:pt x="250" y="4074"/>
                    </a:lnTo>
                    <a:lnTo>
                      <a:pt x="223" y="4068"/>
                    </a:lnTo>
                    <a:lnTo>
                      <a:pt x="198" y="4059"/>
                    </a:lnTo>
                    <a:lnTo>
                      <a:pt x="191" y="4057"/>
                    </a:lnTo>
                    <a:lnTo>
                      <a:pt x="167" y="4047"/>
                    </a:lnTo>
                    <a:lnTo>
                      <a:pt x="144" y="4034"/>
                    </a:lnTo>
                    <a:lnTo>
                      <a:pt x="123" y="4021"/>
                    </a:lnTo>
                    <a:lnTo>
                      <a:pt x="112" y="4013"/>
                    </a:lnTo>
                    <a:lnTo>
                      <a:pt x="92" y="3998"/>
                    </a:lnTo>
                    <a:lnTo>
                      <a:pt x="75" y="3981"/>
                    </a:lnTo>
                    <a:lnTo>
                      <a:pt x="59" y="3963"/>
                    </a:lnTo>
                    <a:lnTo>
                      <a:pt x="45" y="3943"/>
                    </a:lnTo>
                    <a:lnTo>
                      <a:pt x="36" y="3932"/>
                    </a:lnTo>
                    <a:lnTo>
                      <a:pt x="25" y="3911"/>
                    </a:lnTo>
                    <a:lnTo>
                      <a:pt x="15" y="3888"/>
                    </a:lnTo>
                    <a:lnTo>
                      <a:pt x="14" y="3882"/>
                    </a:lnTo>
                    <a:lnTo>
                      <a:pt x="7" y="3859"/>
                    </a:lnTo>
                    <a:lnTo>
                      <a:pt x="3" y="3835"/>
                    </a:lnTo>
                    <a:lnTo>
                      <a:pt x="2" y="3828"/>
                    </a:lnTo>
                    <a:lnTo>
                      <a:pt x="0" y="3803"/>
                    </a:lnTo>
                    <a:lnTo>
                      <a:pt x="0" y="277"/>
                    </a:lnTo>
                    <a:lnTo>
                      <a:pt x="2" y="252"/>
                    </a:lnTo>
                    <a:lnTo>
                      <a:pt x="3" y="244"/>
                    </a:lnTo>
                    <a:lnTo>
                      <a:pt x="7" y="221"/>
                    </a:lnTo>
                    <a:lnTo>
                      <a:pt x="14" y="197"/>
                    </a:lnTo>
                    <a:lnTo>
                      <a:pt x="15" y="191"/>
                    </a:lnTo>
                    <a:lnTo>
                      <a:pt x="25" y="169"/>
                    </a:lnTo>
                    <a:lnTo>
                      <a:pt x="36" y="148"/>
                    </a:lnTo>
                    <a:lnTo>
                      <a:pt x="45" y="137"/>
                    </a:lnTo>
                    <a:lnTo>
                      <a:pt x="59" y="117"/>
                    </a:lnTo>
                    <a:lnTo>
                      <a:pt x="75" y="98"/>
                    </a:lnTo>
                    <a:lnTo>
                      <a:pt x="92" y="81"/>
                    </a:lnTo>
                    <a:lnTo>
                      <a:pt x="112" y="66"/>
                    </a:lnTo>
                    <a:lnTo>
                      <a:pt x="123" y="59"/>
                    </a:lnTo>
                    <a:lnTo>
                      <a:pt x="144" y="45"/>
                    </a:lnTo>
                    <a:lnTo>
                      <a:pt x="167" y="33"/>
                    </a:lnTo>
                    <a:lnTo>
                      <a:pt x="191" y="23"/>
                    </a:lnTo>
                    <a:lnTo>
                      <a:pt x="198" y="20"/>
                    </a:lnTo>
                    <a:lnTo>
                      <a:pt x="223" y="12"/>
                    </a:lnTo>
                    <a:lnTo>
                      <a:pt x="250" y="5"/>
                    </a:lnTo>
                    <a:lnTo>
                      <a:pt x="277" y="3"/>
                    </a:lnTo>
                    <a:lnTo>
                      <a:pt x="284" y="2"/>
                    </a:lnTo>
                    <a:lnTo>
                      <a:pt x="312" y="0"/>
                    </a:lnTo>
                    <a:close/>
                  </a:path>
                </a:pathLst>
              </a:custGeom>
              <a:solidFill>
                <a:schemeClr val="tx1"/>
              </a:solidFill>
              <a:ln w="0">
                <a:noFill/>
                <a:prstDash val="solid"/>
                <a:round/>
                <a:headEnd/>
                <a:tailEnd/>
              </a:ln>
            </p:spPr>
            <p:txBody>
              <a:bodyPr vert="horz" wrap="square" lIns="69935" tIns="34968" rIns="69935" bIns="34968" numCol="1" anchor="t" anchorCtr="0" compatLnSpc="1">
                <a:prstTxWarp prst="textNoShape">
                  <a:avLst/>
                </a:prstTxWarp>
              </a:bodyPr>
              <a:lstStyle/>
              <a:p>
                <a:pPr defTabSz="713414">
                  <a:defRPr/>
                </a:pPr>
                <a:endParaRPr lang="en-GB" kern="0">
                  <a:solidFill>
                    <a:srgbClr val="0078D7">
                      <a:lumMod val="75000"/>
                    </a:srgbClr>
                  </a:solidFill>
                </a:endParaRPr>
              </a:p>
            </p:txBody>
          </p:sp>
          <p:sp>
            <p:nvSpPr>
              <p:cNvPr id="78" name="Rounded Rectangle 77"/>
              <p:cNvSpPr/>
              <p:nvPr/>
            </p:nvSpPr>
            <p:spPr bwMode="auto">
              <a:xfrm>
                <a:off x="5918883" y="5601517"/>
                <a:ext cx="238693" cy="330176"/>
              </a:xfrm>
              <a:prstGeom prst="roundRect">
                <a:avLst>
                  <a:gd name="adj" fmla="val 11805"/>
                </a:avLst>
              </a:prstGeom>
              <a:solidFill>
                <a:srgbClr val="0071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70" tIns="34285" rIns="34285" bIns="68570" numCol="1" spcCol="0" rtlCol="0" fromWordArt="0" anchor="b" anchorCtr="0" forceAA="0" compatLnSpc="1">
                <a:prstTxWarp prst="textNoShape">
                  <a:avLst/>
                </a:prstTxWarp>
                <a:noAutofit/>
              </a:bodyPr>
              <a:lstStyle/>
              <a:p>
                <a:pPr algn="ctr" defTabSz="685513" fontAlgn="base">
                  <a:spcBef>
                    <a:spcPct val="0"/>
                  </a:spcBef>
                  <a:spcAft>
                    <a:spcPct val="0"/>
                  </a:spcAft>
                </a:pPr>
                <a:endParaRPr lang="en-US" spc="-38" dirty="0">
                  <a:solidFill>
                    <a:srgbClr val="0078D7">
                      <a:lumMod val="75000"/>
                    </a:srgbClr>
                  </a:solidFill>
                  <a:ea typeface="Segoe UI" pitchFamily="34" charset="0"/>
                  <a:cs typeface="Segoe UI" pitchFamily="34" charset="0"/>
                </a:endParaRPr>
              </a:p>
            </p:txBody>
          </p:sp>
          <p:sp>
            <p:nvSpPr>
              <p:cNvPr id="79" name="Freeform 836"/>
              <p:cNvSpPr>
                <a:spLocks noEditPoints="1"/>
              </p:cNvSpPr>
              <p:nvPr/>
            </p:nvSpPr>
            <p:spPr bwMode="auto">
              <a:xfrm>
                <a:off x="5918885" y="5601975"/>
                <a:ext cx="235096" cy="326787"/>
              </a:xfrm>
              <a:custGeom>
                <a:avLst/>
                <a:gdLst>
                  <a:gd name="T0" fmla="*/ 1845 w 2151"/>
                  <a:gd name="T1" fmla="*/ 3532 h 4079"/>
                  <a:gd name="T2" fmla="*/ 1916 w 2151"/>
                  <a:gd name="T3" fmla="*/ 3672 h 4079"/>
                  <a:gd name="T4" fmla="*/ 305 w 2151"/>
                  <a:gd name="T5" fmla="*/ 3290 h 4079"/>
                  <a:gd name="T6" fmla="*/ 234 w 2151"/>
                  <a:gd name="T7" fmla="*/ 3151 h 4079"/>
                  <a:gd name="T8" fmla="*/ 234 w 2151"/>
                  <a:gd name="T9" fmla="*/ 3151 h 4079"/>
                  <a:gd name="T10" fmla="*/ 556 w 2151"/>
                  <a:gd name="T11" fmla="*/ 2914 h 4079"/>
                  <a:gd name="T12" fmla="*/ 628 w 2151"/>
                  <a:gd name="T13" fmla="*/ 3053 h 4079"/>
                  <a:gd name="T14" fmla="*/ 305 w 2151"/>
                  <a:gd name="T15" fmla="*/ 954 h 4079"/>
                  <a:gd name="T16" fmla="*/ 234 w 2151"/>
                  <a:gd name="T17" fmla="*/ 745 h 4079"/>
                  <a:gd name="T18" fmla="*/ 234 w 2151"/>
                  <a:gd name="T19" fmla="*/ 745 h 4079"/>
                  <a:gd name="T20" fmla="*/ 1845 w 2151"/>
                  <a:gd name="T21" fmla="*/ 483 h 4079"/>
                  <a:gd name="T22" fmla="*/ 1916 w 2151"/>
                  <a:gd name="T23" fmla="*/ 694 h 4079"/>
                  <a:gd name="T24" fmla="*/ 292 w 2151"/>
                  <a:gd name="T25" fmla="*/ 74 h 4079"/>
                  <a:gd name="T26" fmla="*/ 214 w 2151"/>
                  <a:gd name="T27" fmla="*/ 90 h 4079"/>
                  <a:gd name="T28" fmla="*/ 142 w 2151"/>
                  <a:gd name="T29" fmla="*/ 132 h 4079"/>
                  <a:gd name="T30" fmla="*/ 92 w 2151"/>
                  <a:gd name="T31" fmla="*/ 197 h 4079"/>
                  <a:gd name="T32" fmla="*/ 73 w 2151"/>
                  <a:gd name="T33" fmla="*/ 259 h 4079"/>
                  <a:gd name="T34" fmla="*/ 73 w 2151"/>
                  <a:gd name="T35" fmla="*/ 3820 h 4079"/>
                  <a:gd name="T36" fmla="*/ 102 w 2151"/>
                  <a:gd name="T37" fmla="*/ 3902 h 4079"/>
                  <a:gd name="T38" fmla="*/ 160 w 2151"/>
                  <a:gd name="T39" fmla="*/ 3961 h 4079"/>
                  <a:gd name="T40" fmla="*/ 238 w 2151"/>
                  <a:gd name="T41" fmla="*/ 3997 h 4079"/>
                  <a:gd name="T42" fmla="*/ 313 w 2151"/>
                  <a:gd name="T43" fmla="*/ 4007 h 4079"/>
                  <a:gd name="T44" fmla="*/ 1887 w 2151"/>
                  <a:gd name="T45" fmla="*/ 4003 h 4079"/>
                  <a:gd name="T46" fmla="*/ 1979 w 2151"/>
                  <a:gd name="T47" fmla="*/ 3969 h 4079"/>
                  <a:gd name="T48" fmla="*/ 2042 w 2151"/>
                  <a:gd name="T49" fmla="*/ 3912 h 4079"/>
                  <a:gd name="T50" fmla="*/ 2070 w 2151"/>
                  <a:gd name="T51" fmla="*/ 3861 h 4079"/>
                  <a:gd name="T52" fmla="*/ 2079 w 2151"/>
                  <a:gd name="T53" fmla="*/ 3803 h 4079"/>
                  <a:gd name="T54" fmla="*/ 2074 w 2151"/>
                  <a:gd name="T55" fmla="*/ 236 h 4079"/>
                  <a:gd name="T56" fmla="*/ 2049 w 2151"/>
                  <a:gd name="T57" fmla="*/ 176 h 4079"/>
                  <a:gd name="T58" fmla="*/ 1992 w 2151"/>
                  <a:gd name="T59" fmla="*/ 118 h 4079"/>
                  <a:gd name="T60" fmla="*/ 1914 w 2151"/>
                  <a:gd name="T61" fmla="*/ 82 h 4079"/>
                  <a:gd name="T62" fmla="*/ 1839 w 2151"/>
                  <a:gd name="T63" fmla="*/ 72 h 4079"/>
                  <a:gd name="T64" fmla="*/ 1867 w 2151"/>
                  <a:gd name="T65" fmla="*/ 2 h 4079"/>
                  <a:gd name="T66" fmla="*/ 1953 w 2151"/>
                  <a:gd name="T67" fmla="*/ 20 h 4079"/>
                  <a:gd name="T68" fmla="*/ 2029 w 2151"/>
                  <a:gd name="T69" fmla="*/ 59 h 4079"/>
                  <a:gd name="T70" fmla="*/ 2093 w 2151"/>
                  <a:gd name="T71" fmla="*/ 117 h 4079"/>
                  <a:gd name="T72" fmla="*/ 2136 w 2151"/>
                  <a:gd name="T73" fmla="*/ 191 h 4079"/>
                  <a:gd name="T74" fmla="*/ 2150 w 2151"/>
                  <a:gd name="T75" fmla="*/ 252 h 4079"/>
                  <a:gd name="T76" fmla="*/ 2149 w 2151"/>
                  <a:gd name="T77" fmla="*/ 3835 h 4079"/>
                  <a:gd name="T78" fmla="*/ 2126 w 2151"/>
                  <a:gd name="T79" fmla="*/ 3911 h 4079"/>
                  <a:gd name="T80" fmla="*/ 2077 w 2151"/>
                  <a:gd name="T81" fmla="*/ 3981 h 4079"/>
                  <a:gd name="T82" fmla="*/ 2008 w 2151"/>
                  <a:gd name="T83" fmla="*/ 4034 h 4079"/>
                  <a:gd name="T84" fmla="*/ 1929 w 2151"/>
                  <a:gd name="T85" fmla="*/ 4068 h 4079"/>
                  <a:gd name="T86" fmla="*/ 1839 w 2151"/>
                  <a:gd name="T87" fmla="*/ 4079 h 4079"/>
                  <a:gd name="T88" fmla="*/ 250 w 2151"/>
                  <a:gd name="T89" fmla="*/ 4074 h 4079"/>
                  <a:gd name="T90" fmla="*/ 167 w 2151"/>
                  <a:gd name="T91" fmla="*/ 4047 h 4079"/>
                  <a:gd name="T92" fmla="*/ 92 w 2151"/>
                  <a:gd name="T93" fmla="*/ 3998 h 4079"/>
                  <a:gd name="T94" fmla="*/ 36 w 2151"/>
                  <a:gd name="T95" fmla="*/ 3932 h 4079"/>
                  <a:gd name="T96" fmla="*/ 7 w 2151"/>
                  <a:gd name="T97" fmla="*/ 3859 h 4079"/>
                  <a:gd name="T98" fmla="*/ 0 w 2151"/>
                  <a:gd name="T99" fmla="*/ 277 h 4079"/>
                  <a:gd name="T100" fmla="*/ 14 w 2151"/>
                  <a:gd name="T101" fmla="*/ 197 h 4079"/>
                  <a:gd name="T102" fmla="*/ 45 w 2151"/>
                  <a:gd name="T103" fmla="*/ 137 h 4079"/>
                  <a:gd name="T104" fmla="*/ 112 w 2151"/>
                  <a:gd name="T105" fmla="*/ 66 h 4079"/>
                  <a:gd name="T106" fmla="*/ 191 w 2151"/>
                  <a:gd name="T107" fmla="*/ 23 h 4079"/>
                  <a:gd name="T108" fmla="*/ 277 w 2151"/>
                  <a:gd name="T109" fmla="*/ 3 h 40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51" h="4079">
                    <a:moveTo>
                      <a:pt x="305" y="3532"/>
                    </a:moveTo>
                    <a:lnTo>
                      <a:pt x="305" y="3600"/>
                    </a:lnTo>
                    <a:lnTo>
                      <a:pt x="1845" y="3600"/>
                    </a:lnTo>
                    <a:lnTo>
                      <a:pt x="1845" y="3532"/>
                    </a:lnTo>
                    <a:lnTo>
                      <a:pt x="305" y="3532"/>
                    </a:lnTo>
                    <a:close/>
                    <a:moveTo>
                      <a:pt x="234" y="3460"/>
                    </a:moveTo>
                    <a:lnTo>
                      <a:pt x="1916" y="3460"/>
                    </a:lnTo>
                    <a:lnTo>
                      <a:pt x="1916" y="3672"/>
                    </a:lnTo>
                    <a:lnTo>
                      <a:pt x="234" y="3672"/>
                    </a:lnTo>
                    <a:lnTo>
                      <a:pt x="234" y="3460"/>
                    </a:lnTo>
                    <a:close/>
                    <a:moveTo>
                      <a:pt x="305" y="3223"/>
                    </a:moveTo>
                    <a:lnTo>
                      <a:pt x="305" y="3290"/>
                    </a:lnTo>
                    <a:lnTo>
                      <a:pt x="556" y="3290"/>
                    </a:lnTo>
                    <a:lnTo>
                      <a:pt x="556" y="3223"/>
                    </a:lnTo>
                    <a:lnTo>
                      <a:pt x="305" y="3223"/>
                    </a:lnTo>
                    <a:close/>
                    <a:moveTo>
                      <a:pt x="234" y="3151"/>
                    </a:moveTo>
                    <a:lnTo>
                      <a:pt x="628" y="3151"/>
                    </a:lnTo>
                    <a:lnTo>
                      <a:pt x="628" y="3362"/>
                    </a:lnTo>
                    <a:lnTo>
                      <a:pt x="234" y="3362"/>
                    </a:lnTo>
                    <a:lnTo>
                      <a:pt x="234" y="3151"/>
                    </a:lnTo>
                    <a:close/>
                    <a:moveTo>
                      <a:pt x="305" y="2914"/>
                    </a:moveTo>
                    <a:lnTo>
                      <a:pt x="305" y="2982"/>
                    </a:lnTo>
                    <a:lnTo>
                      <a:pt x="556" y="2982"/>
                    </a:lnTo>
                    <a:lnTo>
                      <a:pt x="556" y="2914"/>
                    </a:lnTo>
                    <a:lnTo>
                      <a:pt x="305" y="2914"/>
                    </a:lnTo>
                    <a:close/>
                    <a:moveTo>
                      <a:pt x="234" y="2842"/>
                    </a:moveTo>
                    <a:lnTo>
                      <a:pt x="628" y="2842"/>
                    </a:lnTo>
                    <a:lnTo>
                      <a:pt x="628" y="3053"/>
                    </a:lnTo>
                    <a:lnTo>
                      <a:pt x="234" y="3053"/>
                    </a:lnTo>
                    <a:lnTo>
                      <a:pt x="234" y="2842"/>
                    </a:lnTo>
                    <a:close/>
                    <a:moveTo>
                      <a:pt x="305" y="817"/>
                    </a:moveTo>
                    <a:lnTo>
                      <a:pt x="305" y="954"/>
                    </a:lnTo>
                    <a:lnTo>
                      <a:pt x="1845" y="954"/>
                    </a:lnTo>
                    <a:lnTo>
                      <a:pt x="1845" y="817"/>
                    </a:lnTo>
                    <a:lnTo>
                      <a:pt x="305" y="817"/>
                    </a:lnTo>
                    <a:close/>
                    <a:moveTo>
                      <a:pt x="234" y="745"/>
                    </a:moveTo>
                    <a:lnTo>
                      <a:pt x="1916" y="745"/>
                    </a:lnTo>
                    <a:lnTo>
                      <a:pt x="1916" y="1026"/>
                    </a:lnTo>
                    <a:lnTo>
                      <a:pt x="234" y="1026"/>
                    </a:lnTo>
                    <a:lnTo>
                      <a:pt x="234" y="745"/>
                    </a:lnTo>
                    <a:close/>
                    <a:moveTo>
                      <a:pt x="305" y="483"/>
                    </a:moveTo>
                    <a:lnTo>
                      <a:pt x="305" y="622"/>
                    </a:lnTo>
                    <a:lnTo>
                      <a:pt x="1845" y="622"/>
                    </a:lnTo>
                    <a:lnTo>
                      <a:pt x="1845" y="483"/>
                    </a:lnTo>
                    <a:lnTo>
                      <a:pt x="305" y="483"/>
                    </a:lnTo>
                    <a:close/>
                    <a:moveTo>
                      <a:pt x="234" y="412"/>
                    </a:moveTo>
                    <a:lnTo>
                      <a:pt x="1916" y="412"/>
                    </a:lnTo>
                    <a:lnTo>
                      <a:pt x="1916" y="694"/>
                    </a:lnTo>
                    <a:lnTo>
                      <a:pt x="234" y="694"/>
                    </a:lnTo>
                    <a:lnTo>
                      <a:pt x="234" y="412"/>
                    </a:lnTo>
                    <a:close/>
                    <a:moveTo>
                      <a:pt x="313" y="72"/>
                    </a:moveTo>
                    <a:lnTo>
                      <a:pt x="292" y="74"/>
                    </a:lnTo>
                    <a:lnTo>
                      <a:pt x="292" y="74"/>
                    </a:lnTo>
                    <a:lnTo>
                      <a:pt x="265" y="76"/>
                    </a:lnTo>
                    <a:lnTo>
                      <a:pt x="238" y="82"/>
                    </a:lnTo>
                    <a:lnTo>
                      <a:pt x="214" y="90"/>
                    </a:lnTo>
                    <a:lnTo>
                      <a:pt x="196" y="98"/>
                    </a:lnTo>
                    <a:lnTo>
                      <a:pt x="172" y="111"/>
                    </a:lnTo>
                    <a:lnTo>
                      <a:pt x="160" y="118"/>
                    </a:lnTo>
                    <a:lnTo>
                      <a:pt x="142" y="132"/>
                    </a:lnTo>
                    <a:lnTo>
                      <a:pt x="125" y="149"/>
                    </a:lnTo>
                    <a:lnTo>
                      <a:pt x="109" y="168"/>
                    </a:lnTo>
                    <a:lnTo>
                      <a:pt x="102" y="178"/>
                    </a:lnTo>
                    <a:lnTo>
                      <a:pt x="92" y="197"/>
                    </a:lnTo>
                    <a:lnTo>
                      <a:pt x="82" y="218"/>
                    </a:lnTo>
                    <a:lnTo>
                      <a:pt x="77" y="236"/>
                    </a:lnTo>
                    <a:lnTo>
                      <a:pt x="73" y="259"/>
                    </a:lnTo>
                    <a:lnTo>
                      <a:pt x="73" y="259"/>
                    </a:lnTo>
                    <a:lnTo>
                      <a:pt x="72" y="277"/>
                    </a:lnTo>
                    <a:lnTo>
                      <a:pt x="72" y="3803"/>
                    </a:lnTo>
                    <a:lnTo>
                      <a:pt x="73" y="3820"/>
                    </a:lnTo>
                    <a:lnTo>
                      <a:pt x="73" y="3820"/>
                    </a:lnTo>
                    <a:lnTo>
                      <a:pt x="77" y="3844"/>
                    </a:lnTo>
                    <a:lnTo>
                      <a:pt x="82" y="3861"/>
                    </a:lnTo>
                    <a:lnTo>
                      <a:pt x="92" y="3882"/>
                    </a:lnTo>
                    <a:lnTo>
                      <a:pt x="102" y="3902"/>
                    </a:lnTo>
                    <a:lnTo>
                      <a:pt x="109" y="3912"/>
                    </a:lnTo>
                    <a:lnTo>
                      <a:pt x="125" y="3930"/>
                    </a:lnTo>
                    <a:lnTo>
                      <a:pt x="142" y="3948"/>
                    </a:lnTo>
                    <a:lnTo>
                      <a:pt x="160" y="3961"/>
                    </a:lnTo>
                    <a:lnTo>
                      <a:pt x="172" y="3969"/>
                    </a:lnTo>
                    <a:lnTo>
                      <a:pt x="196" y="3981"/>
                    </a:lnTo>
                    <a:lnTo>
                      <a:pt x="214" y="3990"/>
                    </a:lnTo>
                    <a:lnTo>
                      <a:pt x="238" y="3997"/>
                    </a:lnTo>
                    <a:lnTo>
                      <a:pt x="265" y="4003"/>
                    </a:lnTo>
                    <a:lnTo>
                      <a:pt x="284" y="4006"/>
                    </a:lnTo>
                    <a:lnTo>
                      <a:pt x="284" y="4006"/>
                    </a:lnTo>
                    <a:lnTo>
                      <a:pt x="313" y="4007"/>
                    </a:lnTo>
                    <a:lnTo>
                      <a:pt x="1839" y="4007"/>
                    </a:lnTo>
                    <a:lnTo>
                      <a:pt x="1867" y="4006"/>
                    </a:lnTo>
                    <a:lnTo>
                      <a:pt x="1867" y="4006"/>
                    </a:lnTo>
                    <a:lnTo>
                      <a:pt x="1887" y="4003"/>
                    </a:lnTo>
                    <a:lnTo>
                      <a:pt x="1914" y="3997"/>
                    </a:lnTo>
                    <a:lnTo>
                      <a:pt x="1937" y="3990"/>
                    </a:lnTo>
                    <a:lnTo>
                      <a:pt x="1956" y="3981"/>
                    </a:lnTo>
                    <a:lnTo>
                      <a:pt x="1979" y="3969"/>
                    </a:lnTo>
                    <a:lnTo>
                      <a:pt x="1992" y="3961"/>
                    </a:lnTo>
                    <a:lnTo>
                      <a:pt x="2009" y="3948"/>
                    </a:lnTo>
                    <a:lnTo>
                      <a:pt x="2026" y="3930"/>
                    </a:lnTo>
                    <a:lnTo>
                      <a:pt x="2042" y="3912"/>
                    </a:lnTo>
                    <a:lnTo>
                      <a:pt x="2049" y="3903"/>
                    </a:lnTo>
                    <a:lnTo>
                      <a:pt x="2049" y="3903"/>
                    </a:lnTo>
                    <a:lnTo>
                      <a:pt x="2060" y="3882"/>
                    </a:lnTo>
                    <a:lnTo>
                      <a:pt x="2070" y="3861"/>
                    </a:lnTo>
                    <a:lnTo>
                      <a:pt x="2074" y="3844"/>
                    </a:lnTo>
                    <a:lnTo>
                      <a:pt x="2078" y="3820"/>
                    </a:lnTo>
                    <a:lnTo>
                      <a:pt x="2078" y="3820"/>
                    </a:lnTo>
                    <a:lnTo>
                      <a:pt x="2079" y="3803"/>
                    </a:lnTo>
                    <a:lnTo>
                      <a:pt x="2079" y="277"/>
                    </a:lnTo>
                    <a:lnTo>
                      <a:pt x="2078" y="259"/>
                    </a:lnTo>
                    <a:lnTo>
                      <a:pt x="2078" y="259"/>
                    </a:lnTo>
                    <a:lnTo>
                      <a:pt x="2074" y="236"/>
                    </a:lnTo>
                    <a:lnTo>
                      <a:pt x="2070" y="218"/>
                    </a:lnTo>
                    <a:lnTo>
                      <a:pt x="2060" y="197"/>
                    </a:lnTo>
                    <a:lnTo>
                      <a:pt x="2049" y="176"/>
                    </a:lnTo>
                    <a:lnTo>
                      <a:pt x="2049" y="176"/>
                    </a:lnTo>
                    <a:lnTo>
                      <a:pt x="2042" y="168"/>
                    </a:lnTo>
                    <a:lnTo>
                      <a:pt x="2026" y="149"/>
                    </a:lnTo>
                    <a:lnTo>
                      <a:pt x="2009" y="132"/>
                    </a:lnTo>
                    <a:lnTo>
                      <a:pt x="1992" y="118"/>
                    </a:lnTo>
                    <a:lnTo>
                      <a:pt x="1979" y="111"/>
                    </a:lnTo>
                    <a:lnTo>
                      <a:pt x="1956" y="98"/>
                    </a:lnTo>
                    <a:lnTo>
                      <a:pt x="1937" y="90"/>
                    </a:lnTo>
                    <a:lnTo>
                      <a:pt x="1914" y="82"/>
                    </a:lnTo>
                    <a:lnTo>
                      <a:pt x="1887" y="76"/>
                    </a:lnTo>
                    <a:lnTo>
                      <a:pt x="1860" y="74"/>
                    </a:lnTo>
                    <a:lnTo>
                      <a:pt x="1860" y="74"/>
                    </a:lnTo>
                    <a:lnTo>
                      <a:pt x="1839" y="72"/>
                    </a:lnTo>
                    <a:lnTo>
                      <a:pt x="313" y="72"/>
                    </a:lnTo>
                    <a:close/>
                    <a:moveTo>
                      <a:pt x="312" y="0"/>
                    </a:moveTo>
                    <a:lnTo>
                      <a:pt x="1840" y="0"/>
                    </a:lnTo>
                    <a:lnTo>
                      <a:pt x="1867" y="2"/>
                    </a:lnTo>
                    <a:lnTo>
                      <a:pt x="1874" y="3"/>
                    </a:lnTo>
                    <a:lnTo>
                      <a:pt x="1902" y="5"/>
                    </a:lnTo>
                    <a:lnTo>
                      <a:pt x="1929" y="12"/>
                    </a:lnTo>
                    <a:lnTo>
                      <a:pt x="1953" y="20"/>
                    </a:lnTo>
                    <a:lnTo>
                      <a:pt x="1961" y="23"/>
                    </a:lnTo>
                    <a:lnTo>
                      <a:pt x="1984" y="33"/>
                    </a:lnTo>
                    <a:lnTo>
                      <a:pt x="2008" y="45"/>
                    </a:lnTo>
                    <a:lnTo>
                      <a:pt x="2029" y="59"/>
                    </a:lnTo>
                    <a:lnTo>
                      <a:pt x="2040" y="66"/>
                    </a:lnTo>
                    <a:lnTo>
                      <a:pt x="2060" y="81"/>
                    </a:lnTo>
                    <a:lnTo>
                      <a:pt x="2077" y="98"/>
                    </a:lnTo>
                    <a:lnTo>
                      <a:pt x="2093" y="117"/>
                    </a:lnTo>
                    <a:lnTo>
                      <a:pt x="2108" y="137"/>
                    </a:lnTo>
                    <a:lnTo>
                      <a:pt x="2115" y="148"/>
                    </a:lnTo>
                    <a:lnTo>
                      <a:pt x="2126" y="169"/>
                    </a:lnTo>
                    <a:lnTo>
                      <a:pt x="2136" y="191"/>
                    </a:lnTo>
                    <a:lnTo>
                      <a:pt x="2137" y="197"/>
                    </a:lnTo>
                    <a:lnTo>
                      <a:pt x="2145" y="221"/>
                    </a:lnTo>
                    <a:lnTo>
                      <a:pt x="2149" y="244"/>
                    </a:lnTo>
                    <a:lnTo>
                      <a:pt x="2150" y="252"/>
                    </a:lnTo>
                    <a:lnTo>
                      <a:pt x="2151" y="274"/>
                    </a:lnTo>
                    <a:lnTo>
                      <a:pt x="2151" y="3805"/>
                    </a:lnTo>
                    <a:lnTo>
                      <a:pt x="2150" y="3828"/>
                    </a:lnTo>
                    <a:lnTo>
                      <a:pt x="2149" y="3835"/>
                    </a:lnTo>
                    <a:lnTo>
                      <a:pt x="2145" y="3859"/>
                    </a:lnTo>
                    <a:lnTo>
                      <a:pt x="2137" y="3882"/>
                    </a:lnTo>
                    <a:lnTo>
                      <a:pt x="2136" y="3888"/>
                    </a:lnTo>
                    <a:lnTo>
                      <a:pt x="2126" y="3911"/>
                    </a:lnTo>
                    <a:lnTo>
                      <a:pt x="2115" y="3932"/>
                    </a:lnTo>
                    <a:lnTo>
                      <a:pt x="2108" y="3943"/>
                    </a:lnTo>
                    <a:lnTo>
                      <a:pt x="2093" y="3963"/>
                    </a:lnTo>
                    <a:lnTo>
                      <a:pt x="2077" y="3981"/>
                    </a:lnTo>
                    <a:lnTo>
                      <a:pt x="2060" y="3998"/>
                    </a:lnTo>
                    <a:lnTo>
                      <a:pt x="2040" y="4013"/>
                    </a:lnTo>
                    <a:lnTo>
                      <a:pt x="2029" y="4021"/>
                    </a:lnTo>
                    <a:lnTo>
                      <a:pt x="2008" y="4034"/>
                    </a:lnTo>
                    <a:lnTo>
                      <a:pt x="1984" y="4047"/>
                    </a:lnTo>
                    <a:lnTo>
                      <a:pt x="1961" y="4057"/>
                    </a:lnTo>
                    <a:lnTo>
                      <a:pt x="1953" y="4059"/>
                    </a:lnTo>
                    <a:lnTo>
                      <a:pt x="1929" y="4068"/>
                    </a:lnTo>
                    <a:lnTo>
                      <a:pt x="1902" y="4074"/>
                    </a:lnTo>
                    <a:lnTo>
                      <a:pt x="1874" y="4078"/>
                    </a:lnTo>
                    <a:lnTo>
                      <a:pt x="1867" y="4078"/>
                    </a:lnTo>
                    <a:lnTo>
                      <a:pt x="1839" y="4079"/>
                    </a:lnTo>
                    <a:lnTo>
                      <a:pt x="313" y="4079"/>
                    </a:lnTo>
                    <a:lnTo>
                      <a:pt x="284" y="4078"/>
                    </a:lnTo>
                    <a:lnTo>
                      <a:pt x="277" y="4078"/>
                    </a:lnTo>
                    <a:lnTo>
                      <a:pt x="250" y="4074"/>
                    </a:lnTo>
                    <a:lnTo>
                      <a:pt x="223" y="4068"/>
                    </a:lnTo>
                    <a:lnTo>
                      <a:pt x="198" y="4059"/>
                    </a:lnTo>
                    <a:lnTo>
                      <a:pt x="191" y="4057"/>
                    </a:lnTo>
                    <a:lnTo>
                      <a:pt x="167" y="4047"/>
                    </a:lnTo>
                    <a:lnTo>
                      <a:pt x="144" y="4034"/>
                    </a:lnTo>
                    <a:lnTo>
                      <a:pt x="123" y="4021"/>
                    </a:lnTo>
                    <a:lnTo>
                      <a:pt x="112" y="4013"/>
                    </a:lnTo>
                    <a:lnTo>
                      <a:pt x="92" y="3998"/>
                    </a:lnTo>
                    <a:lnTo>
                      <a:pt x="75" y="3981"/>
                    </a:lnTo>
                    <a:lnTo>
                      <a:pt x="59" y="3963"/>
                    </a:lnTo>
                    <a:lnTo>
                      <a:pt x="45" y="3943"/>
                    </a:lnTo>
                    <a:lnTo>
                      <a:pt x="36" y="3932"/>
                    </a:lnTo>
                    <a:lnTo>
                      <a:pt x="25" y="3911"/>
                    </a:lnTo>
                    <a:lnTo>
                      <a:pt x="15" y="3888"/>
                    </a:lnTo>
                    <a:lnTo>
                      <a:pt x="14" y="3882"/>
                    </a:lnTo>
                    <a:lnTo>
                      <a:pt x="7" y="3859"/>
                    </a:lnTo>
                    <a:lnTo>
                      <a:pt x="3" y="3835"/>
                    </a:lnTo>
                    <a:lnTo>
                      <a:pt x="2" y="3828"/>
                    </a:lnTo>
                    <a:lnTo>
                      <a:pt x="0" y="3803"/>
                    </a:lnTo>
                    <a:lnTo>
                      <a:pt x="0" y="277"/>
                    </a:lnTo>
                    <a:lnTo>
                      <a:pt x="2" y="252"/>
                    </a:lnTo>
                    <a:lnTo>
                      <a:pt x="3" y="244"/>
                    </a:lnTo>
                    <a:lnTo>
                      <a:pt x="7" y="221"/>
                    </a:lnTo>
                    <a:lnTo>
                      <a:pt x="14" y="197"/>
                    </a:lnTo>
                    <a:lnTo>
                      <a:pt x="15" y="191"/>
                    </a:lnTo>
                    <a:lnTo>
                      <a:pt x="25" y="169"/>
                    </a:lnTo>
                    <a:lnTo>
                      <a:pt x="36" y="148"/>
                    </a:lnTo>
                    <a:lnTo>
                      <a:pt x="45" y="137"/>
                    </a:lnTo>
                    <a:lnTo>
                      <a:pt x="59" y="117"/>
                    </a:lnTo>
                    <a:lnTo>
                      <a:pt x="75" y="98"/>
                    </a:lnTo>
                    <a:lnTo>
                      <a:pt x="92" y="81"/>
                    </a:lnTo>
                    <a:lnTo>
                      <a:pt x="112" y="66"/>
                    </a:lnTo>
                    <a:lnTo>
                      <a:pt x="123" y="59"/>
                    </a:lnTo>
                    <a:lnTo>
                      <a:pt x="144" y="45"/>
                    </a:lnTo>
                    <a:lnTo>
                      <a:pt x="167" y="33"/>
                    </a:lnTo>
                    <a:lnTo>
                      <a:pt x="191" y="23"/>
                    </a:lnTo>
                    <a:lnTo>
                      <a:pt x="198" y="20"/>
                    </a:lnTo>
                    <a:lnTo>
                      <a:pt x="223" y="12"/>
                    </a:lnTo>
                    <a:lnTo>
                      <a:pt x="250" y="5"/>
                    </a:lnTo>
                    <a:lnTo>
                      <a:pt x="277" y="3"/>
                    </a:lnTo>
                    <a:lnTo>
                      <a:pt x="284" y="2"/>
                    </a:lnTo>
                    <a:lnTo>
                      <a:pt x="312" y="0"/>
                    </a:lnTo>
                    <a:close/>
                  </a:path>
                </a:pathLst>
              </a:custGeom>
              <a:solidFill>
                <a:schemeClr val="tx1"/>
              </a:solidFill>
              <a:ln w="0">
                <a:noFill/>
                <a:prstDash val="solid"/>
                <a:round/>
                <a:headEnd/>
                <a:tailEnd/>
              </a:ln>
            </p:spPr>
            <p:txBody>
              <a:bodyPr vert="horz" wrap="square" lIns="69935" tIns="34968" rIns="69935" bIns="34968" numCol="1" anchor="t" anchorCtr="0" compatLnSpc="1">
                <a:prstTxWarp prst="textNoShape">
                  <a:avLst/>
                </a:prstTxWarp>
              </a:bodyPr>
              <a:lstStyle/>
              <a:p>
                <a:pPr defTabSz="713414">
                  <a:defRPr/>
                </a:pPr>
                <a:endParaRPr lang="en-GB" kern="0">
                  <a:solidFill>
                    <a:srgbClr val="0078D7">
                      <a:lumMod val="75000"/>
                    </a:srgbClr>
                  </a:solidFill>
                </a:endParaRPr>
              </a:p>
            </p:txBody>
          </p:sp>
          <p:sp>
            <p:nvSpPr>
              <p:cNvPr id="86" name="Rounded Rectangle 85"/>
              <p:cNvSpPr/>
              <p:nvPr/>
            </p:nvSpPr>
            <p:spPr bwMode="auto">
              <a:xfrm>
                <a:off x="6315360" y="5621882"/>
                <a:ext cx="194867" cy="309811"/>
              </a:xfrm>
              <a:prstGeom prst="roundRect">
                <a:avLst>
                  <a:gd name="adj" fmla="val 11805"/>
                </a:avLst>
              </a:prstGeom>
              <a:solidFill>
                <a:srgbClr val="0071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70" tIns="34285" rIns="34285" bIns="68570" numCol="1" spcCol="0" rtlCol="0" fromWordArt="0" anchor="b" anchorCtr="0" forceAA="0" compatLnSpc="1">
                <a:prstTxWarp prst="textNoShape">
                  <a:avLst/>
                </a:prstTxWarp>
                <a:noAutofit/>
              </a:bodyPr>
              <a:lstStyle/>
              <a:p>
                <a:pPr algn="ctr" defTabSz="685513" fontAlgn="base">
                  <a:spcBef>
                    <a:spcPct val="0"/>
                  </a:spcBef>
                  <a:spcAft>
                    <a:spcPct val="0"/>
                  </a:spcAft>
                </a:pPr>
                <a:endParaRPr lang="en-US" spc="-38" dirty="0">
                  <a:solidFill>
                    <a:srgbClr val="0078D7">
                      <a:lumMod val="75000"/>
                    </a:srgbClr>
                  </a:solidFill>
                  <a:ea typeface="Segoe UI" pitchFamily="34" charset="0"/>
                  <a:cs typeface="Segoe UI" pitchFamily="34" charset="0"/>
                </a:endParaRPr>
              </a:p>
            </p:txBody>
          </p:sp>
          <p:sp>
            <p:nvSpPr>
              <p:cNvPr id="87" name="Freeform 836"/>
              <p:cNvSpPr>
                <a:spLocks noEditPoints="1"/>
              </p:cNvSpPr>
              <p:nvPr/>
            </p:nvSpPr>
            <p:spPr bwMode="auto">
              <a:xfrm>
                <a:off x="6314626" y="5622131"/>
                <a:ext cx="191930" cy="306631"/>
              </a:xfrm>
              <a:custGeom>
                <a:avLst/>
                <a:gdLst>
                  <a:gd name="T0" fmla="*/ 1845 w 2151"/>
                  <a:gd name="T1" fmla="*/ 3532 h 4079"/>
                  <a:gd name="T2" fmla="*/ 1916 w 2151"/>
                  <a:gd name="T3" fmla="*/ 3672 h 4079"/>
                  <a:gd name="T4" fmla="*/ 305 w 2151"/>
                  <a:gd name="T5" fmla="*/ 3290 h 4079"/>
                  <a:gd name="T6" fmla="*/ 234 w 2151"/>
                  <a:gd name="T7" fmla="*/ 3151 h 4079"/>
                  <a:gd name="T8" fmla="*/ 234 w 2151"/>
                  <a:gd name="T9" fmla="*/ 3151 h 4079"/>
                  <a:gd name="T10" fmla="*/ 556 w 2151"/>
                  <a:gd name="T11" fmla="*/ 2914 h 4079"/>
                  <a:gd name="T12" fmla="*/ 628 w 2151"/>
                  <a:gd name="T13" fmla="*/ 3053 h 4079"/>
                  <a:gd name="T14" fmla="*/ 305 w 2151"/>
                  <a:gd name="T15" fmla="*/ 954 h 4079"/>
                  <a:gd name="T16" fmla="*/ 234 w 2151"/>
                  <a:gd name="T17" fmla="*/ 745 h 4079"/>
                  <a:gd name="T18" fmla="*/ 234 w 2151"/>
                  <a:gd name="T19" fmla="*/ 745 h 4079"/>
                  <a:gd name="T20" fmla="*/ 1845 w 2151"/>
                  <a:gd name="T21" fmla="*/ 483 h 4079"/>
                  <a:gd name="T22" fmla="*/ 1916 w 2151"/>
                  <a:gd name="T23" fmla="*/ 694 h 4079"/>
                  <a:gd name="T24" fmla="*/ 292 w 2151"/>
                  <a:gd name="T25" fmla="*/ 74 h 4079"/>
                  <a:gd name="T26" fmla="*/ 214 w 2151"/>
                  <a:gd name="T27" fmla="*/ 90 h 4079"/>
                  <a:gd name="T28" fmla="*/ 142 w 2151"/>
                  <a:gd name="T29" fmla="*/ 132 h 4079"/>
                  <a:gd name="T30" fmla="*/ 92 w 2151"/>
                  <a:gd name="T31" fmla="*/ 197 h 4079"/>
                  <a:gd name="T32" fmla="*/ 73 w 2151"/>
                  <a:gd name="T33" fmla="*/ 259 h 4079"/>
                  <a:gd name="T34" fmla="*/ 73 w 2151"/>
                  <a:gd name="T35" fmla="*/ 3820 h 4079"/>
                  <a:gd name="T36" fmla="*/ 102 w 2151"/>
                  <a:gd name="T37" fmla="*/ 3902 h 4079"/>
                  <a:gd name="T38" fmla="*/ 160 w 2151"/>
                  <a:gd name="T39" fmla="*/ 3961 h 4079"/>
                  <a:gd name="T40" fmla="*/ 238 w 2151"/>
                  <a:gd name="T41" fmla="*/ 3997 h 4079"/>
                  <a:gd name="T42" fmla="*/ 313 w 2151"/>
                  <a:gd name="T43" fmla="*/ 4007 h 4079"/>
                  <a:gd name="T44" fmla="*/ 1887 w 2151"/>
                  <a:gd name="T45" fmla="*/ 4003 h 4079"/>
                  <a:gd name="T46" fmla="*/ 1979 w 2151"/>
                  <a:gd name="T47" fmla="*/ 3969 h 4079"/>
                  <a:gd name="T48" fmla="*/ 2042 w 2151"/>
                  <a:gd name="T49" fmla="*/ 3912 h 4079"/>
                  <a:gd name="T50" fmla="*/ 2070 w 2151"/>
                  <a:gd name="T51" fmla="*/ 3861 h 4079"/>
                  <a:gd name="T52" fmla="*/ 2079 w 2151"/>
                  <a:gd name="T53" fmla="*/ 3803 h 4079"/>
                  <a:gd name="T54" fmla="*/ 2074 w 2151"/>
                  <a:gd name="T55" fmla="*/ 236 h 4079"/>
                  <a:gd name="T56" fmla="*/ 2049 w 2151"/>
                  <a:gd name="T57" fmla="*/ 176 h 4079"/>
                  <a:gd name="T58" fmla="*/ 1992 w 2151"/>
                  <a:gd name="T59" fmla="*/ 118 h 4079"/>
                  <a:gd name="T60" fmla="*/ 1914 w 2151"/>
                  <a:gd name="T61" fmla="*/ 82 h 4079"/>
                  <a:gd name="T62" fmla="*/ 1839 w 2151"/>
                  <a:gd name="T63" fmla="*/ 72 h 4079"/>
                  <a:gd name="T64" fmla="*/ 1867 w 2151"/>
                  <a:gd name="T65" fmla="*/ 2 h 4079"/>
                  <a:gd name="T66" fmla="*/ 1953 w 2151"/>
                  <a:gd name="T67" fmla="*/ 20 h 4079"/>
                  <a:gd name="T68" fmla="*/ 2029 w 2151"/>
                  <a:gd name="T69" fmla="*/ 59 h 4079"/>
                  <a:gd name="T70" fmla="*/ 2093 w 2151"/>
                  <a:gd name="T71" fmla="*/ 117 h 4079"/>
                  <a:gd name="T72" fmla="*/ 2136 w 2151"/>
                  <a:gd name="T73" fmla="*/ 191 h 4079"/>
                  <a:gd name="T74" fmla="*/ 2150 w 2151"/>
                  <a:gd name="T75" fmla="*/ 252 h 4079"/>
                  <a:gd name="T76" fmla="*/ 2149 w 2151"/>
                  <a:gd name="T77" fmla="*/ 3835 h 4079"/>
                  <a:gd name="T78" fmla="*/ 2126 w 2151"/>
                  <a:gd name="T79" fmla="*/ 3911 h 4079"/>
                  <a:gd name="T80" fmla="*/ 2077 w 2151"/>
                  <a:gd name="T81" fmla="*/ 3981 h 4079"/>
                  <a:gd name="T82" fmla="*/ 2008 w 2151"/>
                  <a:gd name="T83" fmla="*/ 4034 h 4079"/>
                  <a:gd name="T84" fmla="*/ 1929 w 2151"/>
                  <a:gd name="T85" fmla="*/ 4068 h 4079"/>
                  <a:gd name="T86" fmla="*/ 1839 w 2151"/>
                  <a:gd name="T87" fmla="*/ 4079 h 4079"/>
                  <a:gd name="T88" fmla="*/ 250 w 2151"/>
                  <a:gd name="T89" fmla="*/ 4074 h 4079"/>
                  <a:gd name="T90" fmla="*/ 167 w 2151"/>
                  <a:gd name="T91" fmla="*/ 4047 h 4079"/>
                  <a:gd name="T92" fmla="*/ 92 w 2151"/>
                  <a:gd name="T93" fmla="*/ 3998 h 4079"/>
                  <a:gd name="T94" fmla="*/ 36 w 2151"/>
                  <a:gd name="T95" fmla="*/ 3932 h 4079"/>
                  <a:gd name="T96" fmla="*/ 7 w 2151"/>
                  <a:gd name="T97" fmla="*/ 3859 h 4079"/>
                  <a:gd name="T98" fmla="*/ 0 w 2151"/>
                  <a:gd name="T99" fmla="*/ 277 h 4079"/>
                  <a:gd name="T100" fmla="*/ 14 w 2151"/>
                  <a:gd name="T101" fmla="*/ 197 h 4079"/>
                  <a:gd name="T102" fmla="*/ 45 w 2151"/>
                  <a:gd name="T103" fmla="*/ 137 h 4079"/>
                  <a:gd name="T104" fmla="*/ 112 w 2151"/>
                  <a:gd name="T105" fmla="*/ 66 h 4079"/>
                  <a:gd name="T106" fmla="*/ 191 w 2151"/>
                  <a:gd name="T107" fmla="*/ 23 h 4079"/>
                  <a:gd name="T108" fmla="*/ 277 w 2151"/>
                  <a:gd name="T109" fmla="*/ 3 h 40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51" h="4079">
                    <a:moveTo>
                      <a:pt x="305" y="3532"/>
                    </a:moveTo>
                    <a:lnTo>
                      <a:pt x="305" y="3600"/>
                    </a:lnTo>
                    <a:lnTo>
                      <a:pt x="1845" y="3600"/>
                    </a:lnTo>
                    <a:lnTo>
                      <a:pt x="1845" y="3532"/>
                    </a:lnTo>
                    <a:lnTo>
                      <a:pt x="305" y="3532"/>
                    </a:lnTo>
                    <a:close/>
                    <a:moveTo>
                      <a:pt x="234" y="3460"/>
                    </a:moveTo>
                    <a:lnTo>
                      <a:pt x="1916" y="3460"/>
                    </a:lnTo>
                    <a:lnTo>
                      <a:pt x="1916" y="3672"/>
                    </a:lnTo>
                    <a:lnTo>
                      <a:pt x="234" y="3672"/>
                    </a:lnTo>
                    <a:lnTo>
                      <a:pt x="234" y="3460"/>
                    </a:lnTo>
                    <a:close/>
                    <a:moveTo>
                      <a:pt x="305" y="3223"/>
                    </a:moveTo>
                    <a:lnTo>
                      <a:pt x="305" y="3290"/>
                    </a:lnTo>
                    <a:lnTo>
                      <a:pt x="556" y="3290"/>
                    </a:lnTo>
                    <a:lnTo>
                      <a:pt x="556" y="3223"/>
                    </a:lnTo>
                    <a:lnTo>
                      <a:pt x="305" y="3223"/>
                    </a:lnTo>
                    <a:close/>
                    <a:moveTo>
                      <a:pt x="234" y="3151"/>
                    </a:moveTo>
                    <a:lnTo>
                      <a:pt x="628" y="3151"/>
                    </a:lnTo>
                    <a:lnTo>
                      <a:pt x="628" y="3362"/>
                    </a:lnTo>
                    <a:lnTo>
                      <a:pt x="234" y="3362"/>
                    </a:lnTo>
                    <a:lnTo>
                      <a:pt x="234" y="3151"/>
                    </a:lnTo>
                    <a:close/>
                    <a:moveTo>
                      <a:pt x="305" y="2914"/>
                    </a:moveTo>
                    <a:lnTo>
                      <a:pt x="305" y="2982"/>
                    </a:lnTo>
                    <a:lnTo>
                      <a:pt x="556" y="2982"/>
                    </a:lnTo>
                    <a:lnTo>
                      <a:pt x="556" y="2914"/>
                    </a:lnTo>
                    <a:lnTo>
                      <a:pt x="305" y="2914"/>
                    </a:lnTo>
                    <a:close/>
                    <a:moveTo>
                      <a:pt x="234" y="2842"/>
                    </a:moveTo>
                    <a:lnTo>
                      <a:pt x="628" y="2842"/>
                    </a:lnTo>
                    <a:lnTo>
                      <a:pt x="628" y="3053"/>
                    </a:lnTo>
                    <a:lnTo>
                      <a:pt x="234" y="3053"/>
                    </a:lnTo>
                    <a:lnTo>
                      <a:pt x="234" y="2842"/>
                    </a:lnTo>
                    <a:close/>
                    <a:moveTo>
                      <a:pt x="305" y="817"/>
                    </a:moveTo>
                    <a:lnTo>
                      <a:pt x="305" y="954"/>
                    </a:lnTo>
                    <a:lnTo>
                      <a:pt x="1845" y="954"/>
                    </a:lnTo>
                    <a:lnTo>
                      <a:pt x="1845" y="817"/>
                    </a:lnTo>
                    <a:lnTo>
                      <a:pt x="305" y="817"/>
                    </a:lnTo>
                    <a:close/>
                    <a:moveTo>
                      <a:pt x="234" y="745"/>
                    </a:moveTo>
                    <a:lnTo>
                      <a:pt x="1916" y="745"/>
                    </a:lnTo>
                    <a:lnTo>
                      <a:pt x="1916" y="1026"/>
                    </a:lnTo>
                    <a:lnTo>
                      <a:pt x="234" y="1026"/>
                    </a:lnTo>
                    <a:lnTo>
                      <a:pt x="234" y="745"/>
                    </a:lnTo>
                    <a:close/>
                    <a:moveTo>
                      <a:pt x="305" y="483"/>
                    </a:moveTo>
                    <a:lnTo>
                      <a:pt x="305" y="622"/>
                    </a:lnTo>
                    <a:lnTo>
                      <a:pt x="1845" y="622"/>
                    </a:lnTo>
                    <a:lnTo>
                      <a:pt x="1845" y="483"/>
                    </a:lnTo>
                    <a:lnTo>
                      <a:pt x="305" y="483"/>
                    </a:lnTo>
                    <a:close/>
                    <a:moveTo>
                      <a:pt x="234" y="412"/>
                    </a:moveTo>
                    <a:lnTo>
                      <a:pt x="1916" y="412"/>
                    </a:lnTo>
                    <a:lnTo>
                      <a:pt x="1916" y="694"/>
                    </a:lnTo>
                    <a:lnTo>
                      <a:pt x="234" y="694"/>
                    </a:lnTo>
                    <a:lnTo>
                      <a:pt x="234" y="412"/>
                    </a:lnTo>
                    <a:close/>
                    <a:moveTo>
                      <a:pt x="313" y="72"/>
                    </a:moveTo>
                    <a:lnTo>
                      <a:pt x="292" y="74"/>
                    </a:lnTo>
                    <a:lnTo>
                      <a:pt x="292" y="74"/>
                    </a:lnTo>
                    <a:lnTo>
                      <a:pt x="265" y="76"/>
                    </a:lnTo>
                    <a:lnTo>
                      <a:pt x="238" y="82"/>
                    </a:lnTo>
                    <a:lnTo>
                      <a:pt x="214" y="90"/>
                    </a:lnTo>
                    <a:lnTo>
                      <a:pt x="196" y="98"/>
                    </a:lnTo>
                    <a:lnTo>
                      <a:pt x="172" y="111"/>
                    </a:lnTo>
                    <a:lnTo>
                      <a:pt x="160" y="118"/>
                    </a:lnTo>
                    <a:lnTo>
                      <a:pt x="142" y="132"/>
                    </a:lnTo>
                    <a:lnTo>
                      <a:pt x="125" y="149"/>
                    </a:lnTo>
                    <a:lnTo>
                      <a:pt x="109" y="168"/>
                    </a:lnTo>
                    <a:lnTo>
                      <a:pt x="102" y="178"/>
                    </a:lnTo>
                    <a:lnTo>
                      <a:pt x="92" y="197"/>
                    </a:lnTo>
                    <a:lnTo>
                      <a:pt x="82" y="218"/>
                    </a:lnTo>
                    <a:lnTo>
                      <a:pt x="77" y="236"/>
                    </a:lnTo>
                    <a:lnTo>
                      <a:pt x="73" y="259"/>
                    </a:lnTo>
                    <a:lnTo>
                      <a:pt x="73" y="259"/>
                    </a:lnTo>
                    <a:lnTo>
                      <a:pt x="72" y="277"/>
                    </a:lnTo>
                    <a:lnTo>
                      <a:pt x="72" y="3803"/>
                    </a:lnTo>
                    <a:lnTo>
                      <a:pt x="73" y="3820"/>
                    </a:lnTo>
                    <a:lnTo>
                      <a:pt x="73" y="3820"/>
                    </a:lnTo>
                    <a:lnTo>
                      <a:pt x="77" y="3844"/>
                    </a:lnTo>
                    <a:lnTo>
                      <a:pt x="82" y="3861"/>
                    </a:lnTo>
                    <a:lnTo>
                      <a:pt x="92" y="3882"/>
                    </a:lnTo>
                    <a:lnTo>
                      <a:pt x="102" y="3902"/>
                    </a:lnTo>
                    <a:lnTo>
                      <a:pt x="109" y="3912"/>
                    </a:lnTo>
                    <a:lnTo>
                      <a:pt x="125" y="3930"/>
                    </a:lnTo>
                    <a:lnTo>
                      <a:pt x="142" y="3948"/>
                    </a:lnTo>
                    <a:lnTo>
                      <a:pt x="160" y="3961"/>
                    </a:lnTo>
                    <a:lnTo>
                      <a:pt x="172" y="3969"/>
                    </a:lnTo>
                    <a:lnTo>
                      <a:pt x="196" y="3981"/>
                    </a:lnTo>
                    <a:lnTo>
                      <a:pt x="214" y="3990"/>
                    </a:lnTo>
                    <a:lnTo>
                      <a:pt x="238" y="3997"/>
                    </a:lnTo>
                    <a:lnTo>
                      <a:pt x="265" y="4003"/>
                    </a:lnTo>
                    <a:lnTo>
                      <a:pt x="284" y="4006"/>
                    </a:lnTo>
                    <a:lnTo>
                      <a:pt x="284" y="4006"/>
                    </a:lnTo>
                    <a:lnTo>
                      <a:pt x="313" y="4007"/>
                    </a:lnTo>
                    <a:lnTo>
                      <a:pt x="1839" y="4007"/>
                    </a:lnTo>
                    <a:lnTo>
                      <a:pt x="1867" y="4006"/>
                    </a:lnTo>
                    <a:lnTo>
                      <a:pt x="1867" y="4006"/>
                    </a:lnTo>
                    <a:lnTo>
                      <a:pt x="1887" y="4003"/>
                    </a:lnTo>
                    <a:lnTo>
                      <a:pt x="1914" y="3997"/>
                    </a:lnTo>
                    <a:lnTo>
                      <a:pt x="1937" y="3990"/>
                    </a:lnTo>
                    <a:lnTo>
                      <a:pt x="1956" y="3981"/>
                    </a:lnTo>
                    <a:lnTo>
                      <a:pt x="1979" y="3969"/>
                    </a:lnTo>
                    <a:lnTo>
                      <a:pt x="1992" y="3961"/>
                    </a:lnTo>
                    <a:lnTo>
                      <a:pt x="2009" y="3948"/>
                    </a:lnTo>
                    <a:lnTo>
                      <a:pt x="2026" y="3930"/>
                    </a:lnTo>
                    <a:lnTo>
                      <a:pt x="2042" y="3912"/>
                    </a:lnTo>
                    <a:lnTo>
                      <a:pt x="2049" y="3903"/>
                    </a:lnTo>
                    <a:lnTo>
                      <a:pt x="2049" y="3903"/>
                    </a:lnTo>
                    <a:lnTo>
                      <a:pt x="2060" y="3882"/>
                    </a:lnTo>
                    <a:lnTo>
                      <a:pt x="2070" y="3861"/>
                    </a:lnTo>
                    <a:lnTo>
                      <a:pt x="2074" y="3844"/>
                    </a:lnTo>
                    <a:lnTo>
                      <a:pt x="2078" y="3820"/>
                    </a:lnTo>
                    <a:lnTo>
                      <a:pt x="2078" y="3820"/>
                    </a:lnTo>
                    <a:lnTo>
                      <a:pt x="2079" y="3803"/>
                    </a:lnTo>
                    <a:lnTo>
                      <a:pt x="2079" y="277"/>
                    </a:lnTo>
                    <a:lnTo>
                      <a:pt x="2078" y="259"/>
                    </a:lnTo>
                    <a:lnTo>
                      <a:pt x="2078" y="259"/>
                    </a:lnTo>
                    <a:lnTo>
                      <a:pt x="2074" y="236"/>
                    </a:lnTo>
                    <a:lnTo>
                      <a:pt x="2070" y="218"/>
                    </a:lnTo>
                    <a:lnTo>
                      <a:pt x="2060" y="197"/>
                    </a:lnTo>
                    <a:lnTo>
                      <a:pt x="2049" y="176"/>
                    </a:lnTo>
                    <a:lnTo>
                      <a:pt x="2049" y="176"/>
                    </a:lnTo>
                    <a:lnTo>
                      <a:pt x="2042" y="168"/>
                    </a:lnTo>
                    <a:lnTo>
                      <a:pt x="2026" y="149"/>
                    </a:lnTo>
                    <a:lnTo>
                      <a:pt x="2009" y="132"/>
                    </a:lnTo>
                    <a:lnTo>
                      <a:pt x="1992" y="118"/>
                    </a:lnTo>
                    <a:lnTo>
                      <a:pt x="1979" y="111"/>
                    </a:lnTo>
                    <a:lnTo>
                      <a:pt x="1956" y="98"/>
                    </a:lnTo>
                    <a:lnTo>
                      <a:pt x="1937" y="90"/>
                    </a:lnTo>
                    <a:lnTo>
                      <a:pt x="1914" y="82"/>
                    </a:lnTo>
                    <a:lnTo>
                      <a:pt x="1887" y="76"/>
                    </a:lnTo>
                    <a:lnTo>
                      <a:pt x="1860" y="74"/>
                    </a:lnTo>
                    <a:lnTo>
                      <a:pt x="1860" y="74"/>
                    </a:lnTo>
                    <a:lnTo>
                      <a:pt x="1839" y="72"/>
                    </a:lnTo>
                    <a:lnTo>
                      <a:pt x="313" y="72"/>
                    </a:lnTo>
                    <a:close/>
                    <a:moveTo>
                      <a:pt x="312" y="0"/>
                    </a:moveTo>
                    <a:lnTo>
                      <a:pt x="1840" y="0"/>
                    </a:lnTo>
                    <a:lnTo>
                      <a:pt x="1867" y="2"/>
                    </a:lnTo>
                    <a:lnTo>
                      <a:pt x="1874" y="3"/>
                    </a:lnTo>
                    <a:lnTo>
                      <a:pt x="1902" y="5"/>
                    </a:lnTo>
                    <a:lnTo>
                      <a:pt x="1929" y="12"/>
                    </a:lnTo>
                    <a:lnTo>
                      <a:pt x="1953" y="20"/>
                    </a:lnTo>
                    <a:lnTo>
                      <a:pt x="1961" y="23"/>
                    </a:lnTo>
                    <a:lnTo>
                      <a:pt x="1984" y="33"/>
                    </a:lnTo>
                    <a:lnTo>
                      <a:pt x="2008" y="45"/>
                    </a:lnTo>
                    <a:lnTo>
                      <a:pt x="2029" y="59"/>
                    </a:lnTo>
                    <a:lnTo>
                      <a:pt x="2040" y="66"/>
                    </a:lnTo>
                    <a:lnTo>
                      <a:pt x="2060" y="81"/>
                    </a:lnTo>
                    <a:lnTo>
                      <a:pt x="2077" y="98"/>
                    </a:lnTo>
                    <a:lnTo>
                      <a:pt x="2093" y="117"/>
                    </a:lnTo>
                    <a:lnTo>
                      <a:pt x="2108" y="137"/>
                    </a:lnTo>
                    <a:lnTo>
                      <a:pt x="2115" y="148"/>
                    </a:lnTo>
                    <a:lnTo>
                      <a:pt x="2126" y="169"/>
                    </a:lnTo>
                    <a:lnTo>
                      <a:pt x="2136" y="191"/>
                    </a:lnTo>
                    <a:lnTo>
                      <a:pt x="2137" y="197"/>
                    </a:lnTo>
                    <a:lnTo>
                      <a:pt x="2145" y="221"/>
                    </a:lnTo>
                    <a:lnTo>
                      <a:pt x="2149" y="244"/>
                    </a:lnTo>
                    <a:lnTo>
                      <a:pt x="2150" y="252"/>
                    </a:lnTo>
                    <a:lnTo>
                      <a:pt x="2151" y="274"/>
                    </a:lnTo>
                    <a:lnTo>
                      <a:pt x="2151" y="3805"/>
                    </a:lnTo>
                    <a:lnTo>
                      <a:pt x="2150" y="3828"/>
                    </a:lnTo>
                    <a:lnTo>
                      <a:pt x="2149" y="3835"/>
                    </a:lnTo>
                    <a:lnTo>
                      <a:pt x="2145" y="3859"/>
                    </a:lnTo>
                    <a:lnTo>
                      <a:pt x="2137" y="3882"/>
                    </a:lnTo>
                    <a:lnTo>
                      <a:pt x="2136" y="3888"/>
                    </a:lnTo>
                    <a:lnTo>
                      <a:pt x="2126" y="3911"/>
                    </a:lnTo>
                    <a:lnTo>
                      <a:pt x="2115" y="3932"/>
                    </a:lnTo>
                    <a:lnTo>
                      <a:pt x="2108" y="3943"/>
                    </a:lnTo>
                    <a:lnTo>
                      <a:pt x="2093" y="3963"/>
                    </a:lnTo>
                    <a:lnTo>
                      <a:pt x="2077" y="3981"/>
                    </a:lnTo>
                    <a:lnTo>
                      <a:pt x="2060" y="3998"/>
                    </a:lnTo>
                    <a:lnTo>
                      <a:pt x="2040" y="4013"/>
                    </a:lnTo>
                    <a:lnTo>
                      <a:pt x="2029" y="4021"/>
                    </a:lnTo>
                    <a:lnTo>
                      <a:pt x="2008" y="4034"/>
                    </a:lnTo>
                    <a:lnTo>
                      <a:pt x="1984" y="4047"/>
                    </a:lnTo>
                    <a:lnTo>
                      <a:pt x="1961" y="4057"/>
                    </a:lnTo>
                    <a:lnTo>
                      <a:pt x="1953" y="4059"/>
                    </a:lnTo>
                    <a:lnTo>
                      <a:pt x="1929" y="4068"/>
                    </a:lnTo>
                    <a:lnTo>
                      <a:pt x="1902" y="4074"/>
                    </a:lnTo>
                    <a:lnTo>
                      <a:pt x="1874" y="4078"/>
                    </a:lnTo>
                    <a:lnTo>
                      <a:pt x="1867" y="4078"/>
                    </a:lnTo>
                    <a:lnTo>
                      <a:pt x="1839" y="4079"/>
                    </a:lnTo>
                    <a:lnTo>
                      <a:pt x="313" y="4079"/>
                    </a:lnTo>
                    <a:lnTo>
                      <a:pt x="284" y="4078"/>
                    </a:lnTo>
                    <a:lnTo>
                      <a:pt x="277" y="4078"/>
                    </a:lnTo>
                    <a:lnTo>
                      <a:pt x="250" y="4074"/>
                    </a:lnTo>
                    <a:lnTo>
                      <a:pt x="223" y="4068"/>
                    </a:lnTo>
                    <a:lnTo>
                      <a:pt x="198" y="4059"/>
                    </a:lnTo>
                    <a:lnTo>
                      <a:pt x="191" y="4057"/>
                    </a:lnTo>
                    <a:lnTo>
                      <a:pt x="167" y="4047"/>
                    </a:lnTo>
                    <a:lnTo>
                      <a:pt x="144" y="4034"/>
                    </a:lnTo>
                    <a:lnTo>
                      <a:pt x="123" y="4021"/>
                    </a:lnTo>
                    <a:lnTo>
                      <a:pt x="112" y="4013"/>
                    </a:lnTo>
                    <a:lnTo>
                      <a:pt x="92" y="3998"/>
                    </a:lnTo>
                    <a:lnTo>
                      <a:pt x="75" y="3981"/>
                    </a:lnTo>
                    <a:lnTo>
                      <a:pt x="59" y="3963"/>
                    </a:lnTo>
                    <a:lnTo>
                      <a:pt x="45" y="3943"/>
                    </a:lnTo>
                    <a:lnTo>
                      <a:pt x="36" y="3932"/>
                    </a:lnTo>
                    <a:lnTo>
                      <a:pt x="25" y="3911"/>
                    </a:lnTo>
                    <a:lnTo>
                      <a:pt x="15" y="3888"/>
                    </a:lnTo>
                    <a:lnTo>
                      <a:pt x="14" y="3882"/>
                    </a:lnTo>
                    <a:lnTo>
                      <a:pt x="7" y="3859"/>
                    </a:lnTo>
                    <a:lnTo>
                      <a:pt x="3" y="3835"/>
                    </a:lnTo>
                    <a:lnTo>
                      <a:pt x="2" y="3828"/>
                    </a:lnTo>
                    <a:lnTo>
                      <a:pt x="0" y="3803"/>
                    </a:lnTo>
                    <a:lnTo>
                      <a:pt x="0" y="277"/>
                    </a:lnTo>
                    <a:lnTo>
                      <a:pt x="2" y="252"/>
                    </a:lnTo>
                    <a:lnTo>
                      <a:pt x="3" y="244"/>
                    </a:lnTo>
                    <a:lnTo>
                      <a:pt x="7" y="221"/>
                    </a:lnTo>
                    <a:lnTo>
                      <a:pt x="14" y="197"/>
                    </a:lnTo>
                    <a:lnTo>
                      <a:pt x="15" y="191"/>
                    </a:lnTo>
                    <a:lnTo>
                      <a:pt x="25" y="169"/>
                    </a:lnTo>
                    <a:lnTo>
                      <a:pt x="36" y="148"/>
                    </a:lnTo>
                    <a:lnTo>
                      <a:pt x="45" y="137"/>
                    </a:lnTo>
                    <a:lnTo>
                      <a:pt x="59" y="117"/>
                    </a:lnTo>
                    <a:lnTo>
                      <a:pt x="75" y="98"/>
                    </a:lnTo>
                    <a:lnTo>
                      <a:pt x="92" y="81"/>
                    </a:lnTo>
                    <a:lnTo>
                      <a:pt x="112" y="66"/>
                    </a:lnTo>
                    <a:lnTo>
                      <a:pt x="123" y="59"/>
                    </a:lnTo>
                    <a:lnTo>
                      <a:pt x="144" y="45"/>
                    </a:lnTo>
                    <a:lnTo>
                      <a:pt x="167" y="33"/>
                    </a:lnTo>
                    <a:lnTo>
                      <a:pt x="191" y="23"/>
                    </a:lnTo>
                    <a:lnTo>
                      <a:pt x="198" y="20"/>
                    </a:lnTo>
                    <a:lnTo>
                      <a:pt x="223" y="12"/>
                    </a:lnTo>
                    <a:lnTo>
                      <a:pt x="250" y="5"/>
                    </a:lnTo>
                    <a:lnTo>
                      <a:pt x="277" y="3"/>
                    </a:lnTo>
                    <a:lnTo>
                      <a:pt x="284" y="2"/>
                    </a:lnTo>
                    <a:lnTo>
                      <a:pt x="312" y="0"/>
                    </a:lnTo>
                    <a:close/>
                  </a:path>
                </a:pathLst>
              </a:custGeom>
              <a:solidFill>
                <a:schemeClr val="tx1"/>
              </a:solidFill>
              <a:ln w="0">
                <a:noFill/>
                <a:prstDash val="solid"/>
                <a:round/>
                <a:headEnd/>
                <a:tailEnd/>
              </a:ln>
            </p:spPr>
            <p:txBody>
              <a:bodyPr vert="horz" wrap="square" lIns="69935" tIns="34968" rIns="69935" bIns="34968" numCol="1" anchor="t" anchorCtr="0" compatLnSpc="1">
                <a:prstTxWarp prst="textNoShape">
                  <a:avLst/>
                </a:prstTxWarp>
              </a:bodyPr>
              <a:lstStyle/>
              <a:p>
                <a:pPr defTabSz="713414">
                  <a:defRPr/>
                </a:pPr>
                <a:endParaRPr lang="en-GB" kern="0">
                  <a:solidFill>
                    <a:srgbClr val="0078D7">
                      <a:lumMod val="75000"/>
                    </a:srgbClr>
                  </a:solidFill>
                </a:endParaRPr>
              </a:p>
            </p:txBody>
          </p:sp>
        </p:grpSp>
      </p:grpSp>
      <p:pic>
        <p:nvPicPr>
          <p:cNvPr id="134" name="Picture 13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523037" y="4116740"/>
            <a:ext cx="1257636" cy="832168"/>
          </a:xfrm>
          <a:prstGeom prst="rect">
            <a:avLst/>
          </a:prstGeom>
        </p:spPr>
      </p:pic>
      <p:sp>
        <p:nvSpPr>
          <p:cNvPr id="72" name="Rectangle 71"/>
          <p:cNvSpPr/>
          <p:nvPr/>
        </p:nvSpPr>
        <p:spPr>
          <a:xfrm>
            <a:off x="4272686" y="4154080"/>
            <a:ext cx="2483052" cy="984885"/>
          </a:xfrm>
          <a:prstGeom prst="rect">
            <a:avLst/>
          </a:prstGeom>
        </p:spPr>
        <p:txBody>
          <a:bodyPr wrap="none" lIns="0" tIns="0" rIns="0" bIns="0" anchor="b">
            <a:spAutoFit/>
          </a:bodyPr>
          <a:lstStyle/>
          <a:p>
            <a:pPr algn="ctr" defTabSz="838560"/>
            <a:r>
              <a:rPr lang="en-US" sz="1600" dirty="0">
                <a:ln w="0"/>
                <a:solidFill>
                  <a:srgbClr val="FFFFFF"/>
                </a:solidFill>
                <a:effectLst>
                  <a:outerShdw blurRad="38100" dist="19050" dir="2700000" algn="tl" rotWithShape="0">
                    <a:srgbClr val="505050">
                      <a:alpha val="40000"/>
                    </a:srgbClr>
                  </a:outerShdw>
                </a:effectLst>
              </a:rPr>
              <a:t>Windows 10</a:t>
            </a:r>
          </a:p>
          <a:p>
            <a:pPr algn="ctr" defTabSz="838560"/>
            <a:r>
              <a:rPr lang="en-US" sz="1600" dirty="0">
                <a:ln w="0"/>
                <a:solidFill>
                  <a:srgbClr val="FFFFFF"/>
                </a:solidFill>
                <a:effectLst>
                  <a:outerShdw blurRad="38100" dist="19050" dir="2700000" algn="tl" rotWithShape="0">
                    <a:srgbClr val="505050">
                      <a:alpha val="40000"/>
                    </a:srgbClr>
                  </a:outerShdw>
                </a:effectLst>
              </a:rPr>
              <a:t>Azure AD Joined or </a:t>
            </a:r>
          </a:p>
          <a:p>
            <a:pPr algn="ctr" defTabSz="838560"/>
            <a:r>
              <a:rPr lang="en-US" sz="1600" dirty="0">
                <a:ln w="0"/>
                <a:solidFill>
                  <a:srgbClr val="FFFFFF"/>
                </a:solidFill>
                <a:effectLst>
                  <a:outerShdw blurRad="38100" dist="19050" dir="2700000" algn="tl" rotWithShape="0">
                    <a:srgbClr val="505050">
                      <a:alpha val="40000"/>
                    </a:srgbClr>
                  </a:outerShdw>
                </a:effectLst>
              </a:rPr>
              <a:t>Domain Joined or</a:t>
            </a:r>
          </a:p>
          <a:p>
            <a:pPr algn="ctr" defTabSz="838560"/>
            <a:r>
              <a:rPr lang="en-US" sz="1600" dirty="0">
                <a:ln w="0"/>
                <a:solidFill>
                  <a:srgbClr val="FFFFFF"/>
                </a:solidFill>
                <a:effectLst>
                  <a:outerShdw blurRad="38100" dist="19050" dir="2700000" algn="tl" rotWithShape="0">
                    <a:srgbClr val="505050">
                      <a:alpha val="40000"/>
                    </a:srgbClr>
                  </a:outerShdw>
                </a:effectLst>
              </a:rPr>
              <a:t>BYOD + Add Work </a:t>
            </a:r>
            <a:r>
              <a:rPr lang="en-US" sz="1600" dirty="0" smtClean="0">
                <a:ln w="0"/>
                <a:solidFill>
                  <a:srgbClr val="FFFFFF"/>
                </a:solidFill>
                <a:effectLst>
                  <a:outerShdw blurRad="38100" dist="19050" dir="2700000" algn="tl" rotWithShape="0">
                    <a:srgbClr val="505050">
                      <a:alpha val="40000"/>
                    </a:srgbClr>
                  </a:outerShdw>
                </a:effectLst>
              </a:rPr>
              <a:t>Account</a:t>
            </a:r>
            <a:endParaRPr lang="en-US" sz="1600" dirty="0">
              <a:ln w="0"/>
              <a:solidFill>
                <a:srgbClr val="FFFFFF"/>
              </a:solidFill>
              <a:effectLst>
                <a:outerShdw blurRad="38100" dist="19050" dir="2700000" algn="tl" rotWithShape="0">
                  <a:srgbClr val="505050">
                    <a:alpha val="40000"/>
                  </a:srgbClr>
                </a:outerShdw>
              </a:effectLst>
            </a:endParaRPr>
          </a:p>
        </p:txBody>
      </p:sp>
      <p:sp>
        <p:nvSpPr>
          <p:cNvPr id="127" name="Up-Down Arrow 126"/>
          <p:cNvSpPr/>
          <p:nvPr/>
        </p:nvSpPr>
        <p:spPr bwMode="auto">
          <a:xfrm>
            <a:off x="6866018" y="2383830"/>
            <a:ext cx="571419" cy="1799232"/>
          </a:xfrm>
          <a:prstGeom prst="upDownArrow">
            <a:avLst/>
          </a:prstGeom>
          <a:solidFill>
            <a:srgbClr val="E1E1E1">
              <a:alpha val="34000"/>
            </a:srgb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270" wrap="square" lIns="0" tIns="34973" rIns="34285" bIns="34973" numCol="1" rtlCol="0" anchor="ctr" anchorCtr="0" compatLnSpc="1">
            <a:prstTxWarp prst="textNoShape">
              <a:avLst/>
            </a:prstTxWarp>
          </a:bodyPr>
          <a:lstStyle/>
          <a:p>
            <a:pPr algn="ctr" defTabSz="699291" fontAlgn="base">
              <a:spcBef>
                <a:spcPct val="0"/>
              </a:spcBef>
              <a:spcAft>
                <a:spcPct val="0"/>
              </a:spcAft>
            </a:pPr>
            <a:r>
              <a:rPr lang="en-US" sz="2000" dirty="0" smtClean="0">
                <a:solidFill>
                  <a:srgbClr val="0078D7">
                    <a:lumMod val="75000"/>
                  </a:srgbClr>
                </a:solidFill>
              </a:rPr>
              <a:t>AAD </a:t>
            </a:r>
            <a:r>
              <a:rPr lang="en-US" sz="2000" dirty="0">
                <a:solidFill>
                  <a:srgbClr val="0078D7">
                    <a:lumMod val="75000"/>
                  </a:srgbClr>
                </a:solidFill>
              </a:rPr>
              <a:t>Sync</a:t>
            </a:r>
          </a:p>
        </p:txBody>
      </p:sp>
      <p:grpSp>
        <p:nvGrpSpPr>
          <p:cNvPr id="170" name="Group 169"/>
          <p:cNvGrpSpPr/>
          <p:nvPr/>
        </p:nvGrpSpPr>
        <p:grpSpPr>
          <a:xfrm>
            <a:off x="8529876" y="5288370"/>
            <a:ext cx="1777735" cy="538645"/>
            <a:chOff x="7907454" y="4489385"/>
            <a:chExt cx="1501869" cy="447419"/>
          </a:xfrm>
        </p:grpSpPr>
        <p:sp>
          <p:nvSpPr>
            <p:cNvPr id="171" name="Rectangle 170"/>
            <p:cNvSpPr/>
            <p:nvPr/>
          </p:nvSpPr>
          <p:spPr>
            <a:xfrm>
              <a:off x="8206839" y="4783413"/>
              <a:ext cx="1179269" cy="153391"/>
            </a:xfrm>
            <a:prstGeom prst="rect">
              <a:avLst/>
            </a:prstGeom>
            <a:ln>
              <a:noFill/>
            </a:ln>
          </p:spPr>
          <p:txBody>
            <a:bodyPr wrap="square" lIns="0" tIns="0" rIns="0" bIns="0" anchor="ctr">
              <a:spAutoFit/>
            </a:bodyPr>
            <a:lstStyle/>
            <a:p>
              <a:pPr algn="ctr" defTabSz="838811">
                <a:spcBef>
                  <a:spcPts val="1101"/>
                </a:spcBef>
              </a:pPr>
              <a:r>
                <a:rPr lang="en-US" sz="1200" dirty="0">
                  <a:ln>
                    <a:solidFill>
                      <a:srgbClr val="FFFFFF">
                        <a:alpha val="0"/>
                      </a:srgbClr>
                    </a:solidFill>
                  </a:ln>
                  <a:solidFill>
                    <a:srgbClr val="0078D7">
                      <a:lumMod val="75000"/>
                    </a:srgbClr>
                  </a:solidFill>
                </a:rPr>
                <a:t>Active</a:t>
              </a:r>
              <a:r>
                <a:rPr lang="en-US" sz="1100" dirty="0">
                  <a:ln>
                    <a:solidFill>
                      <a:srgbClr val="FFFFFF">
                        <a:alpha val="0"/>
                      </a:srgbClr>
                    </a:solidFill>
                  </a:ln>
                  <a:solidFill>
                    <a:srgbClr val="0078D7">
                      <a:lumMod val="75000"/>
                    </a:srgbClr>
                  </a:solidFill>
                </a:rPr>
                <a:t> Directory</a:t>
              </a:r>
            </a:p>
          </p:txBody>
        </p:sp>
        <p:pic>
          <p:nvPicPr>
            <p:cNvPr id="172" name="Picture 17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907454" y="4489385"/>
              <a:ext cx="1501869" cy="353020"/>
            </a:xfrm>
            <a:prstGeom prst="rect">
              <a:avLst/>
            </a:prstGeom>
          </p:spPr>
        </p:pic>
      </p:grpSp>
      <p:sp>
        <p:nvSpPr>
          <p:cNvPr id="115" name="Freeform 20"/>
          <p:cNvSpPr>
            <a:spLocks noEditPoints="1"/>
          </p:cNvSpPr>
          <p:nvPr/>
        </p:nvSpPr>
        <p:spPr bwMode="black">
          <a:xfrm>
            <a:off x="5684542" y="3661243"/>
            <a:ext cx="675005" cy="445878"/>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chemeClr val="tx1"/>
          </a:solidFill>
          <a:extLst/>
        </p:spPr>
        <p:txBody>
          <a:bodyPr vert="horz" wrap="square" lIns="62932" tIns="31466" rIns="62932" bIns="31466" numCol="1" anchor="t" anchorCtr="0" compatLnSpc="1">
            <a:prstTxWarp prst="textNoShape">
              <a:avLst/>
            </a:prstTxWarp>
          </a:bodyPr>
          <a:lstStyle/>
          <a:p>
            <a:pPr defTabSz="713089"/>
            <a:endParaRPr lang="en-US" sz="1000" dirty="0">
              <a:solidFill>
                <a:srgbClr val="0078D7">
                  <a:lumMod val="75000"/>
                </a:srgbClr>
              </a:solidFill>
            </a:endParaRPr>
          </a:p>
        </p:txBody>
      </p:sp>
      <p:pic>
        <p:nvPicPr>
          <p:cNvPr id="126" name="Picture 125"/>
          <p:cNvPicPr>
            <a:picLocks noChangeAspect="1"/>
          </p:cNvPicPr>
          <p:nvPr/>
        </p:nvPicPr>
        <p:blipFill>
          <a:blip r:embed="rId9" cstate="screen">
            <a:extLst>
              <a:ext uri="{BEBA8EAE-BF5A-486C-A8C5-ECC9F3942E4B}">
                <a14:imgProps xmlns:a14="http://schemas.microsoft.com/office/drawing/2010/main">
                  <a14:imgLayer r:embed="rId10">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5381084" y="3539268"/>
            <a:ext cx="270480" cy="488792"/>
          </a:xfrm>
          <a:prstGeom prst="rect">
            <a:avLst/>
          </a:prstGeom>
          <a:solidFill>
            <a:srgbClr val="0070C0"/>
          </a:solidFill>
          <a:ln>
            <a:noFill/>
          </a:ln>
        </p:spPr>
      </p:pic>
      <p:sp>
        <p:nvSpPr>
          <p:cNvPr id="131" name="Rounded Rectangle 2"/>
          <p:cNvSpPr>
            <a:spLocks noChangeAspect="1"/>
          </p:cNvSpPr>
          <p:nvPr/>
        </p:nvSpPr>
        <p:spPr>
          <a:xfrm>
            <a:off x="5044097" y="3744303"/>
            <a:ext cx="238136" cy="320953"/>
          </a:xfrm>
          <a:custGeom>
            <a:avLst/>
            <a:gdLst/>
            <a:ahLst/>
            <a:cxnLst/>
            <a:rect l="l" t="t" r="r" b="b"/>
            <a:pathLst>
              <a:path w="972859" h="1315152">
                <a:moveTo>
                  <a:pt x="481193" y="1210796"/>
                </a:moveTo>
                <a:cubicBezTo>
                  <a:pt x="460084" y="1210796"/>
                  <a:pt x="442971" y="1227887"/>
                  <a:pt x="442971" y="1248969"/>
                </a:cubicBezTo>
                <a:cubicBezTo>
                  <a:pt x="442971" y="1270051"/>
                  <a:pt x="460084" y="1287142"/>
                  <a:pt x="481193" y="1287142"/>
                </a:cubicBezTo>
                <a:cubicBezTo>
                  <a:pt x="502302" y="1287142"/>
                  <a:pt x="519415" y="1270051"/>
                  <a:pt x="519415" y="1248969"/>
                </a:cubicBezTo>
                <a:cubicBezTo>
                  <a:pt x="519415" y="1227887"/>
                  <a:pt x="502302" y="1210796"/>
                  <a:pt x="481193" y="1210796"/>
                </a:cubicBezTo>
                <a:close/>
                <a:moveTo>
                  <a:pt x="124209" y="103179"/>
                </a:moveTo>
                <a:lnTo>
                  <a:pt x="124209" y="1173063"/>
                </a:lnTo>
                <a:lnTo>
                  <a:pt x="855062" y="1173063"/>
                </a:lnTo>
                <a:lnTo>
                  <a:pt x="855062" y="103179"/>
                </a:lnTo>
                <a:close/>
                <a:moveTo>
                  <a:pt x="50054" y="0"/>
                </a:moveTo>
                <a:lnTo>
                  <a:pt x="922805" y="0"/>
                </a:lnTo>
                <a:cubicBezTo>
                  <a:pt x="950449" y="0"/>
                  <a:pt x="972859" y="22410"/>
                  <a:pt x="972859" y="50054"/>
                </a:cubicBezTo>
                <a:lnTo>
                  <a:pt x="972859" y="1265098"/>
                </a:lnTo>
                <a:cubicBezTo>
                  <a:pt x="972859" y="1292742"/>
                  <a:pt x="950449" y="1315152"/>
                  <a:pt x="922805" y="1315152"/>
                </a:cubicBezTo>
                <a:lnTo>
                  <a:pt x="50054" y="1315152"/>
                </a:lnTo>
                <a:cubicBezTo>
                  <a:pt x="22410" y="1315152"/>
                  <a:pt x="0" y="1292742"/>
                  <a:pt x="0" y="1265098"/>
                </a:cubicBezTo>
                <a:lnTo>
                  <a:pt x="0" y="50054"/>
                </a:lnTo>
                <a:cubicBezTo>
                  <a:pt x="0" y="22410"/>
                  <a:pt x="22410" y="0"/>
                  <a:pt x="50054" y="0"/>
                </a:cubicBezTo>
                <a:close/>
              </a:path>
            </a:pathLst>
          </a:custGeom>
          <a:solidFill>
            <a:schemeClr val="tx1"/>
          </a:solidFill>
          <a:ln w="1174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087"/>
            <a:endParaRPr lang="en-US" sz="2000" dirty="0">
              <a:solidFill>
                <a:srgbClr val="0078D7">
                  <a:lumMod val="75000"/>
                </a:srgbClr>
              </a:solidFill>
            </a:endParaRPr>
          </a:p>
        </p:txBody>
      </p:sp>
      <p:grpSp>
        <p:nvGrpSpPr>
          <p:cNvPr id="21" name="Group 20"/>
          <p:cNvGrpSpPr/>
          <p:nvPr/>
        </p:nvGrpSpPr>
        <p:grpSpPr>
          <a:xfrm>
            <a:off x="3946588" y="1568847"/>
            <a:ext cx="1686496" cy="645094"/>
            <a:chOff x="6716617" y="1788568"/>
            <a:chExt cx="1634785" cy="860248"/>
          </a:xfrm>
        </p:grpSpPr>
        <p:sp>
          <p:nvSpPr>
            <p:cNvPr id="181" name="Rectangle 180"/>
            <p:cNvSpPr/>
            <p:nvPr/>
          </p:nvSpPr>
          <p:spPr>
            <a:xfrm>
              <a:off x="6716617" y="1788568"/>
              <a:ext cx="1110055" cy="392036"/>
            </a:xfrm>
            <a:prstGeom prst="rect">
              <a:avLst/>
            </a:prstGeom>
            <a:noFill/>
            <a:ln>
              <a:noFill/>
            </a:ln>
          </p:spPr>
          <p:txBody>
            <a:bodyPr wrap="square" lIns="0" tIns="0" rIns="0" bIns="0" anchor="ctr" anchorCtr="0">
              <a:noAutofit/>
            </a:bodyPr>
            <a:lstStyle/>
            <a:p>
              <a:pPr defTabSz="838811">
                <a:spcBef>
                  <a:spcPts val="1101"/>
                </a:spcBef>
              </a:pPr>
              <a:r>
                <a:rPr lang="en-US" sz="1200" b="1" dirty="0">
                  <a:ln>
                    <a:solidFill>
                      <a:srgbClr val="FFFFFF">
                        <a:alpha val="0"/>
                      </a:srgbClr>
                    </a:solidFill>
                  </a:ln>
                  <a:solidFill>
                    <a:srgbClr val="0078D7">
                      <a:lumMod val="75000"/>
                    </a:srgbClr>
                  </a:solidFill>
                </a:rPr>
                <a:t>Azure Device Registration Service</a:t>
              </a:r>
            </a:p>
          </p:txBody>
        </p:sp>
        <p:grpSp>
          <p:nvGrpSpPr>
            <p:cNvPr id="20" name="Group 19"/>
            <p:cNvGrpSpPr/>
            <p:nvPr/>
          </p:nvGrpSpPr>
          <p:grpSpPr>
            <a:xfrm>
              <a:off x="7585820" y="1862766"/>
              <a:ext cx="765582" cy="786050"/>
              <a:chOff x="7585820" y="1862766"/>
              <a:chExt cx="765582" cy="786050"/>
            </a:xfrm>
          </p:grpSpPr>
          <p:grpSp>
            <p:nvGrpSpPr>
              <p:cNvPr id="180" name="Group 179"/>
              <p:cNvGrpSpPr/>
              <p:nvPr/>
            </p:nvGrpSpPr>
            <p:grpSpPr>
              <a:xfrm>
                <a:off x="7585820" y="1862766"/>
                <a:ext cx="711299" cy="786050"/>
                <a:chOff x="7480679" y="4598931"/>
                <a:chExt cx="711299" cy="786050"/>
              </a:xfrm>
            </p:grpSpPr>
            <p:sp>
              <p:nvSpPr>
                <p:cNvPr id="183" name="Rounded Rectangle 182"/>
                <p:cNvSpPr/>
                <p:nvPr/>
              </p:nvSpPr>
              <p:spPr bwMode="auto">
                <a:xfrm>
                  <a:off x="7480679" y="4598931"/>
                  <a:ext cx="711299" cy="786050"/>
                </a:xfrm>
                <a:prstGeom prst="roundRect">
                  <a:avLst/>
                </a:prstGeom>
                <a:solidFill>
                  <a:schemeClr val="tx1"/>
                </a:solidFill>
                <a:ln w="381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3" rIns="0" bIns="34973" numCol="1" rtlCol="0" anchor="ctr" anchorCtr="0" compatLnSpc="1">
                  <a:prstTxWarp prst="textNoShape">
                    <a:avLst/>
                  </a:prstTxWarp>
                </a:bodyPr>
                <a:lstStyle/>
                <a:p>
                  <a:pPr algn="ctr" defTabSz="699291" fontAlgn="base">
                    <a:spcBef>
                      <a:spcPct val="0"/>
                    </a:spcBef>
                    <a:spcAft>
                      <a:spcPct val="0"/>
                    </a:spcAft>
                  </a:pPr>
                  <a:endParaRPr lang="en-US" sz="1100" dirty="0">
                    <a:solidFill>
                      <a:srgbClr val="0078D7">
                        <a:lumMod val="75000"/>
                      </a:srgbClr>
                    </a:solidFill>
                    <a:cs typeface="Segoe UI Semibold" panose="020B0702040204020203" pitchFamily="34" charset="0"/>
                  </a:endParaRPr>
                </a:p>
              </p:txBody>
            </p:sp>
            <p:sp>
              <p:nvSpPr>
                <p:cNvPr id="184" name="Freeform 9"/>
                <p:cNvSpPr>
                  <a:spLocks noChangeAspect="1" noEditPoints="1"/>
                </p:cNvSpPr>
                <p:nvPr/>
              </p:nvSpPr>
              <p:spPr bwMode="black">
                <a:xfrm>
                  <a:off x="7589837" y="4962285"/>
                  <a:ext cx="412151" cy="334185"/>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accent2">
                    <a:lumMod val="60000"/>
                    <a:lumOff val="40000"/>
                  </a:schemeClr>
                </a:solidFill>
                <a:ln>
                  <a:noFill/>
                </a:ln>
              </p:spPr>
              <p:txBody>
                <a:bodyPr vert="horz" wrap="square" lIns="68570" tIns="34285" rIns="68570" bIns="34285" numCol="1" anchor="t" anchorCtr="0" compatLnSpc="1">
                  <a:prstTxWarp prst="textNoShape">
                    <a:avLst/>
                  </a:prstTxWarp>
                </a:bodyPr>
                <a:lstStyle/>
                <a:p>
                  <a:pPr defTabSz="932597"/>
                  <a:endParaRPr lang="en-US" dirty="0">
                    <a:solidFill>
                      <a:srgbClr val="0078D7">
                        <a:lumMod val="75000"/>
                      </a:srgbClr>
                    </a:solidFill>
                  </a:endParaRPr>
                </a:p>
              </p:txBody>
            </p:sp>
            <p:sp>
              <p:nvSpPr>
                <p:cNvPr id="185" name="Rectangle 184"/>
                <p:cNvSpPr/>
                <p:nvPr/>
              </p:nvSpPr>
              <p:spPr>
                <a:xfrm>
                  <a:off x="7667213" y="5115226"/>
                  <a:ext cx="502996" cy="225735"/>
                </a:xfrm>
                <a:prstGeom prst="rect">
                  <a:avLst/>
                </a:prstGeom>
              </p:spPr>
              <p:txBody>
                <a:bodyPr wrap="square" lIns="0" tIns="0" rIns="0" bIns="0" anchor="b">
                  <a:spAutoFit/>
                </a:bodyPr>
                <a:lstStyle/>
                <a:p>
                  <a:pPr algn="ctr" defTabSz="838560"/>
                  <a:endParaRPr lang="en-US" sz="1100" dirty="0">
                    <a:ln>
                      <a:solidFill>
                        <a:srgbClr val="FFFFFF">
                          <a:alpha val="0"/>
                        </a:srgbClr>
                      </a:solidFill>
                    </a:ln>
                    <a:solidFill>
                      <a:srgbClr val="0078D7">
                        <a:lumMod val="75000"/>
                      </a:srgbClr>
                    </a:solidFill>
                  </a:endParaRPr>
                </a:p>
              </p:txBody>
            </p:sp>
          </p:grpSp>
          <p:sp>
            <p:nvSpPr>
              <p:cNvPr id="182" name="Rectangle 181"/>
              <p:cNvSpPr/>
              <p:nvPr/>
            </p:nvSpPr>
            <p:spPr>
              <a:xfrm>
                <a:off x="7848407" y="2393422"/>
                <a:ext cx="502995" cy="225735"/>
              </a:xfrm>
              <a:prstGeom prst="rect">
                <a:avLst/>
              </a:prstGeom>
            </p:spPr>
            <p:txBody>
              <a:bodyPr wrap="square" lIns="0" tIns="0" rIns="0" bIns="0" anchor="b">
                <a:spAutoFit/>
              </a:bodyPr>
              <a:lstStyle/>
              <a:p>
                <a:pPr algn="ctr" defTabSz="838560"/>
                <a:r>
                  <a:rPr lang="en-US" sz="1100" dirty="0">
                    <a:ln>
                      <a:solidFill>
                        <a:srgbClr val="FFFFFF">
                          <a:alpha val="0"/>
                        </a:srgbClr>
                      </a:solidFill>
                    </a:ln>
                    <a:solidFill>
                      <a:srgbClr val="0078D7">
                        <a:lumMod val="75000"/>
                      </a:srgbClr>
                    </a:solidFill>
                  </a:rPr>
                  <a:t>ADRS</a:t>
                </a:r>
              </a:p>
            </p:txBody>
          </p:sp>
        </p:grpSp>
      </p:grpSp>
      <p:cxnSp>
        <p:nvCxnSpPr>
          <p:cNvPr id="12" name="Curved Connector 11"/>
          <p:cNvCxnSpPr/>
          <p:nvPr/>
        </p:nvCxnSpPr>
        <p:spPr>
          <a:xfrm rot="16200000" flipH="1">
            <a:off x="4776654" y="2580301"/>
            <a:ext cx="1245413" cy="570364"/>
          </a:xfrm>
          <a:prstGeom prst="curvedConnector3">
            <a:avLst/>
          </a:prstGeom>
          <a:ln w="57150">
            <a:headEnd type="triangle"/>
            <a:tailEnd type="triangle"/>
          </a:ln>
        </p:spPr>
        <p:style>
          <a:lnRef idx="2">
            <a:schemeClr val="accent2"/>
          </a:lnRef>
          <a:fillRef idx="0">
            <a:schemeClr val="accent2"/>
          </a:fillRef>
          <a:effectRef idx="1">
            <a:schemeClr val="accent2"/>
          </a:effectRef>
          <a:fontRef idx="minor">
            <a:schemeClr val="tx1"/>
          </a:fontRef>
        </p:style>
      </p:cxnSp>
      <p:cxnSp>
        <p:nvCxnSpPr>
          <p:cNvPr id="73" name="Curved Connector 72"/>
          <p:cNvCxnSpPr/>
          <p:nvPr/>
        </p:nvCxnSpPr>
        <p:spPr>
          <a:xfrm rot="10800000">
            <a:off x="5588858" y="1959091"/>
            <a:ext cx="1215671" cy="19893"/>
          </a:xfrm>
          <a:prstGeom prst="curvedConnector3">
            <a:avLst/>
          </a:prstGeom>
          <a:ln w="57150">
            <a:headEnd type="triangle"/>
            <a:tailEnd type="triangle"/>
          </a:ln>
        </p:spPr>
        <p:style>
          <a:lnRef idx="2">
            <a:schemeClr val="accent2"/>
          </a:lnRef>
          <a:fillRef idx="0">
            <a:schemeClr val="accent2"/>
          </a:fillRef>
          <a:effectRef idx="1">
            <a:schemeClr val="accent2"/>
          </a:effectRef>
          <a:fontRef idx="minor">
            <a:schemeClr val="tx1"/>
          </a:fontRef>
        </p:style>
      </p:cxnSp>
      <p:grpSp>
        <p:nvGrpSpPr>
          <p:cNvPr id="23" name="Group 22"/>
          <p:cNvGrpSpPr/>
          <p:nvPr/>
        </p:nvGrpSpPr>
        <p:grpSpPr>
          <a:xfrm>
            <a:off x="7899075" y="2119059"/>
            <a:ext cx="1490375" cy="696076"/>
            <a:chOff x="9375990" y="787172"/>
            <a:chExt cx="1490375" cy="696076"/>
          </a:xfrm>
        </p:grpSpPr>
        <p:sp>
          <p:nvSpPr>
            <p:cNvPr id="88" name="Rectangle 87"/>
            <p:cNvSpPr/>
            <p:nvPr/>
          </p:nvSpPr>
          <p:spPr>
            <a:xfrm>
              <a:off x="9940789" y="787172"/>
              <a:ext cx="925576" cy="646331"/>
            </a:xfrm>
            <a:prstGeom prst="rect">
              <a:avLst/>
            </a:prstGeom>
          </p:spPr>
          <p:txBody>
            <a:bodyPr wrap="square" lIns="0" tIns="0" rIns="0" bIns="0" anchor="b">
              <a:spAutoFit/>
            </a:bodyPr>
            <a:lstStyle/>
            <a:p>
              <a:pPr algn="ctr" defTabSz="838560">
                <a:spcBef>
                  <a:spcPts val="1101"/>
                </a:spcBef>
              </a:pPr>
              <a:r>
                <a:rPr lang="en-US" sz="1400" b="1" dirty="0">
                  <a:ln>
                    <a:solidFill>
                      <a:srgbClr val="FFFFFF">
                        <a:alpha val="0"/>
                      </a:srgbClr>
                    </a:solidFill>
                  </a:ln>
                  <a:solidFill>
                    <a:srgbClr val="0078D7">
                      <a:lumMod val="75000"/>
                    </a:srgbClr>
                  </a:solidFill>
                </a:rPr>
                <a:t>3rd party </a:t>
              </a:r>
              <a:br>
                <a:rPr lang="en-US" sz="1400" b="1" dirty="0">
                  <a:ln>
                    <a:solidFill>
                      <a:srgbClr val="FFFFFF">
                        <a:alpha val="0"/>
                      </a:srgbClr>
                    </a:solidFill>
                  </a:ln>
                  <a:solidFill>
                    <a:srgbClr val="0078D7">
                      <a:lumMod val="75000"/>
                    </a:srgbClr>
                  </a:solidFill>
                </a:rPr>
              </a:br>
              <a:r>
                <a:rPr lang="en-US" sz="1400" b="1" dirty="0">
                  <a:ln>
                    <a:solidFill>
                      <a:srgbClr val="FFFFFF">
                        <a:alpha val="0"/>
                      </a:srgbClr>
                    </a:solidFill>
                  </a:ln>
                  <a:solidFill>
                    <a:srgbClr val="0078D7">
                      <a:lumMod val="75000"/>
                    </a:srgbClr>
                  </a:solidFill>
                </a:rPr>
                <a:t>apps &amp; clouds</a:t>
              </a:r>
            </a:p>
          </p:txBody>
        </p:sp>
        <p:grpSp>
          <p:nvGrpSpPr>
            <p:cNvPr id="89" name="Group 88"/>
            <p:cNvGrpSpPr/>
            <p:nvPr/>
          </p:nvGrpSpPr>
          <p:grpSpPr>
            <a:xfrm>
              <a:off x="9375990" y="1072961"/>
              <a:ext cx="584712" cy="410287"/>
              <a:chOff x="10569516" y="1145027"/>
              <a:chExt cx="764507" cy="536449"/>
            </a:xfrm>
          </p:grpSpPr>
          <p:sp>
            <p:nvSpPr>
              <p:cNvPr id="90" name="Freeform 5"/>
              <p:cNvSpPr>
                <a:spLocks noEditPoints="1"/>
              </p:cNvSpPr>
              <p:nvPr/>
            </p:nvSpPr>
            <p:spPr bwMode="auto">
              <a:xfrm>
                <a:off x="10569516" y="1145027"/>
                <a:ext cx="764507" cy="536449"/>
              </a:xfrm>
              <a:custGeom>
                <a:avLst/>
                <a:gdLst>
                  <a:gd name="T0" fmla="*/ 2274 w 2350"/>
                  <a:gd name="T1" fmla="*/ 0 h 1648"/>
                  <a:gd name="T2" fmla="*/ 76 w 2350"/>
                  <a:gd name="T3" fmla="*/ 0 h 1648"/>
                  <a:gd name="T4" fmla="*/ 0 w 2350"/>
                  <a:gd name="T5" fmla="*/ 75 h 1648"/>
                  <a:gd name="T6" fmla="*/ 0 w 2350"/>
                  <a:gd name="T7" fmla="*/ 1573 h 1648"/>
                  <a:gd name="T8" fmla="*/ 76 w 2350"/>
                  <a:gd name="T9" fmla="*/ 1648 h 1648"/>
                  <a:gd name="T10" fmla="*/ 2274 w 2350"/>
                  <a:gd name="T11" fmla="*/ 1648 h 1648"/>
                  <a:gd name="T12" fmla="*/ 2350 w 2350"/>
                  <a:gd name="T13" fmla="*/ 1573 h 1648"/>
                  <a:gd name="T14" fmla="*/ 2350 w 2350"/>
                  <a:gd name="T15" fmla="*/ 75 h 1648"/>
                  <a:gd name="T16" fmla="*/ 2274 w 2350"/>
                  <a:gd name="T17" fmla="*/ 0 h 1648"/>
                  <a:gd name="T18" fmla="*/ 2217 w 2350"/>
                  <a:gd name="T19" fmla="*/ 1454 h 1648"/>
                  <a:gd name="T20" fmla="*/ 2151 w 2350"/>
                  <a:gd name="T21" fmla="*/ 1516 h 1648"/>
                  <a:gd name="T22" fmla="*/ 199 w 2350"/>
                  <a:gd name="T23" fmla="*/ 1516 h 1648"/>
                  <a:gd name="T24" fmla="*/ 133 w 2350"/>
                  <a:gd name="T25" fmla="*/ 1454 h 1648"/>
                  <a:gd name="T26" fmla="*/ 133 w 2350"/>
                  <a:gd name="T27" fmla="*/ 199 h 1648"/>
                  <a:gd name="T28" fmla="*/ 199 w 2350"/>
                  <a:gd name="T29" fmla="*/ 132 h 1648"/>
                  <a:gd name="T30" fmla="*/ 2151 w 2350"/>
                  <a:gd name="T31" fmla="*/ 132 h 1648"/>
                  <a:gd name="T32" fmla="*/ 2217 w 2350"/>
                  <a:gd name="T33" fmla="*/ 199 h 1648"/>
                  <a:gd name="T34" fmla="*/ 2217 w 2350"/>
                  <a:gd name="T35" fmla="*/ 1454 h 1648"/>
                  <a:gd name="T36" fmla="*/ 2217 w 2350"/>
                  <a:gd name="T37" fmla="*/ 1454 h 1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50" h="1648">
                    <a:moveTo>
                      <a:pt x="2274" y="0"/>
                    </a:moveTo>
                    <a:cubicBezTo>
                      <a:pt x="76" y="0"/>
                      <a:pt x="76" y="0"/>
                      <a:pt x="76" y="0"/>
                    </a:cubicBezTo>
                    <a:cubicBezTo>
                      <a:pt x="31" y="0"/>
                      <a:pt x="0" y="35"/>
                      <a:pt x="0" y="75"/>
                    </a:cubicBezTo>
                    <a:cubicBezTo>
                      <a:pt x="0" y="1573"/>
                      <a:pt x="0" y="1573"/>
                      <a:pt x="0" y="1573"/>
                    </a:cubicBezTo>
                    <a:cubicBezTo>
                      <a:pt x="0" y="1617"/>
                      <a:pt x="31" y="1648"/>
                      <a:pt x="76" y="1648"/>
                    </a:cubicBezTo>
                    <a:cubicBezTo>
                      <a:pt x="2274" y="1648"/>
                      <a:pt x="2274" y="1648"/>
                      <a:pt x="2274" y="1648"/>
                    </a:cubicBezTo>
                    <a:cubicBezTo>
                      <a:pt x="2319" y="1648"/>
                      <a:pt x="2350" y="1617"/>
                      <a:pt x="2350" y="1573"/>
                    </a:cubicBezTo>
                    <a:cubicBezTo>
                      <a:pt x="2350" y="75"/>
                      <a:pt x="2350" y="75"/>
                      <a:pt x="2350" y="75"/>
                    </a:cubicBezTo>
                    <a:cubicBezTo>
                      <a:pt x="2350" y="35"/>
                      <a:pt x="2319" y="0"/>
                      <a:pt x="2274" y="0"/>
                    </a:cubicBezTo>
                    <a:close/>
                    <a:moveTo>
                      <a:pt x="2217" y="1454"/>
                    </a:moveTo>
                    <a:cubicBezTo>
                      <a:pt x="2217" y="1489"/>
                      <a:pt x="2186" y="1516"/>
                      <a:pt x="2151" y="1516"/>
                    </a:cubicBezTo>
                    <a:cubicBezTo>
                      <a:pt x="199" y="1516"/>
                      <a:pt x="199" y="1516"/>
                      <a:pt x="199" y="1516"/>
                    </a:cubicBezTo>
                    <a:cubicBezTo>
                      <a:pt x="164" y="1516"/>
                      <a:pt x="133" y="1489"/>
                      <a:pt x="133" y="1454"/>
                    </a:cubicBezTo>
                    <a:cubicBezTo>
                      <a:pt x="133" y="199"/>
                      <a:pt x="133" y="199"/>
                      <a:pt x="133" y="199"/>
                    </a:cubicBezTo>
                    <a:cubicBezTo>
                      <a:pt x="133" y="163"/>
                      <a:pt x="164" y="132"/>
                      <a:pt x="199" y="132"/>
                    </a:cubicBezTo>
                    <a:cubicBezTo>
                      <a:pt x="2151" y="132"/>
                      <a:pt x="2151" y="132"/>
                      <a:pt x="2151" y="132"/>
                    </a:cubicBezTo>
                    <a:cubicBezTo>
                      <a:pt x="2186" y="132"/>
                      <a:pt x="2217" y="163"/>
                      <a:pt x="2217" y="199"/>
                    </a:cubicBezTo>
                    <a:cubicBezTo>
                      <a:pt x="2217" y="1454"/>
                      <a:pt x="2217" y="1454"/>
                      <a:pt x="2217" y="1454"/>
                    </a:cubicBezTo>
                    <a:cubicBezTo>
                      <a:pt x="2217" y="1454"/>
                      <a:pt x="2217" y="1454"/>
                      <a:pt x="2217" y="1454"/>
                    </a:cubicBezTo>
                    <a:close/>
                  </a:path>
                </a:pathLst>
              </a:custGeom>
              <a:solidFill>
                <a:srgbClr val="FFFFFF"/>
              </a:solidFill>
              <a:ln>
                <a:noFill/>
              </a:ln>
              <a:extLst/>
            </p:spPr>
            <p:txBody>
              <a:bodyPr vert="horz" wrap="square" lIns="69935" tIns="34968" rIns="69935" bIns="34968" numCol="1" anchor="t" anchorCtr="0" compatLnSpc="1">
                <a:prstTxWarp prst="textNoShape">
                  <a:avLst/>
                </a:prstTxWarp>
              </a:bodyPr>
              <a:lstStyle/>
              <a:p>
                <a:pPr defTabSz="713230">
                  <a:defRPr/>
                </a:pPr>
                <a:endParaRPr lang="en-US" sz="1377" kern="0">
                  <a:solidFill>
                    <a:srgbClr val="505050"/>
                  </a:solidFill>
                </a:endParaRPr>
              </a:p>
            </p:txBody>
          </p:sp>
          <p:pic>
            <p:nvPicPr>
              <p:cNvPr id="91" name="Picture 90"/>
              <p:cNvPicPr>
                <a:picLocks noChangeAspect="1"/>
              </p:cNvPicPr>
              <p:nvPr/>
            </p:nvPicPr>
            <p:blipFill rotWithShape="1">
              <a:blip r:embed="rId6" cstate="print">
                <a:extLst>
                  <a:ext uri="{28A0092B-C50C-407E-A947-70E740481C1C}">
                    <a14:useLocalDpi xmlns:a14="http://schemas.microsoft.com/office/drawing/2010/main" val="0"/>
                  </a:ext>
                </a:extLst>
              </a:blip>
              <a:srcRect t="1475" b="1715"/>
              <a:stretch/>
            </p:blipFill>
            <p:spPr>
              <a:xfrm>
                <a:off x="10733900" y="1210100"/>
                <a:ext cx="425042" cy="411480"/>
              </a:xfrm>
              <a:prstGeom prst="rect">
                <a:avLst/>
              </a:prstGeom>
            </p:spPr>
          </p:pic>
        </p:grpSp>
      </p:grpSp>
      <p:grpSp>
        <p:nvGrpSpPr>
          <p:cNvPr id="92" name="Group 91"/>
          <p:cNvGrpSpPr/>
          <p:nvPr/>
        </p:nvGrpSpPr>
        <p:grpSpPr>
          <a:xfrm>
            <a:off x="4461910" y="805029"/>
            <a:ext cx="1533715" cy="628550"/>
            <a:chOff x="6716617" y="1788568"/>
            <a:chExt cx="1634785" cy="860248"/>
          </a:xfrm>
        </p:grpSpPr>
        <p:sp>
          <p:nvSpPr>
            <p:cNvPr id="93" name="Rectangle 92"/>
            <p:cNvSpPr/>
            <p:nvPr/>
          </p:nvSpPr>
          <p:spPr>
            <a:xfrm>
              <a:off x="6716617" y="1788568"/>
              <a:ext cx="1110055" cy="392036"/>
            </a:xfrm>
            <a:prstGeom prst="rect">
              <a:avLst/>
            </a:prstGeom>
            <a:noFill/>
            <a:ln>
              <a:noFill/>
            </a:ln>
          </p:spPr>
          <p:txBody>
            <a:bodyPr wrap="square" lIns="0" tIns="0" rIns="0" bIns="0" anchor="ctr" anchorCtr="0">
              <a:noAutofit/>
            </a:bodyPr>
            <a:lstStyle/>
            <a:p>
              <a:pPr defTabSz="838811">
                <a:spcBef>
                  <a:spcPts val="1101"/>
                </a:spcBef>
              </a:pPr>
              <a:r>
                <a:rPr lang="en-US" sz="1200" b="1" dirty="0" smtClean="0">
                  <a:ln>
                    <a:solidFill>
                      <a:srgbClr val="FFFFFF">
                        <a:alpha val="0"/>
                      </a:srgbClr>
                    </a:solidFill>
                  </a:ln>
                  <a:solidFill>
                    <a:srgbClr val="0078D7">
                      <a:lumMod val="75000"/>
                    </a:srgbClr>
                  </a:solidFill>
                </a:rPr>
                <a:t> Azure Federation Services</a:t>
              </a:r>
              <a:endParaRPr lang="en-US" sz="1200" b="1" dirty="0">
                <a:ln>
                  <a:solidFill>
                    <a:srgbClr val="FFFFFF">
                      <a:alpha val="0"/>
                    </a:srgbClr>
                  </a:solidFill>
                </a:ln>
                <a:solidFill>
                  <a:srgbClr val="0078D7">
                    <a:lumMod val="75000"/>
                  </a:srgbClr>
                </a:solidFill>
              </a:endParaRPr>
            </a:p>
          </p:txBody>
        </p:sp>
        <p:grpSp>
          <p:nvGrpSpPr>
            <p:cNvPr id="94" name="Group 93"/>
            <p:cNvGrpSpPr/>
            <p:nvPr/>
          </p:nvGrpSpPr>
          <p:grpSpPr>
            <a:xfrm>
              <a:off x="7585820" y="1862766"/>
              <a:ext cx="765582" cy="786050"/>
              <a:chOff x="7585820" y="1862766"/>
              <a:chExt cx="765582" cy="786050"/>
            </a:xfrm>
          </p:grpSpPr>
          <p:grpSp>
            <p:nvGrpSpPr>
              <p:cNvPr id="95" name="Group 94"/>
              <p:cNvGrpSpPr/>
              <p:nvPr/>
            </p:nvGrpSpPr>
            <p:grpSpPr>
              <a:xfrm>
                <a:off x="7585820" y="1862766"/>
                <a:ext cx="711299" cy="786050"/>
                <a:chOff x="7480679" y="4598931"/>
                <a:chExt cx="711299" cy="786050"/>
              </a:xfrm>
            </p:grpSpPr>
            <p:sp>
              <p:nvSpPr>
                <p:cNvPr id="97" name="Rounded Rectangle 96"/>
                <p:cNvSpPr/>
                <p:nvPr/>
              </p:nvSpPr>
              <p:spPr bwMode="auto">
                <a:xfrm>
                  <a:off x="7480679" y="4598931"/>
                  <a:ext cx="711299" cy="786050"/>
                </a:xfrm>
                <a:prstGeom prst="roundRect">
                  <a:avLst/>
                </a:prstGeom>
                <a:solidFill>
                  <a:schemeClr val="tx1"/>
                </a:solidFill>
                <a:ln w="381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3" rIns="0" bIns="34973" numCol="1" rtlCol="0" anchor="ctr" anchorCtr="0" compatLnSpc="1">
                  <a:prstTxWarp prst="textNoShape">
                    <a:avLst/>
                  </a:prstTxWarp>
                </a:bodyPr>
                <a:lstStyle/>
                <a:p>
                  <a:pPr algn="ctr" defTabSz="699291" fontAlgn="base">
                    <a:spcBef>
                      <a:spcPct val="0"/>
                    </a:spcBef>
                    <a:spcAft>
                      <a:spcPct val="0"/>
                    </a:spcAft>
                  </a:pPr>
                  <a:endParaRPr lang="en-US" sz="1100" dirty="0">
                    <a:solidFill>
                      <a:srgbClr val="0078D7">
                        <a:lumMod val="75000"/>
                      </a:srgbClr>
                    </a:solidFill>
                    <a:cs typeface="Segoe UI Semibold" panose="020B0702040204020203" pitchFamily="34" charset="0"/>
                  </a:endParaRPr>
                </a:p>
              </p:txBody>
            </p:sp>
            <p:sp>
              <p:nvSpPr>
                <p:cNvPr id="99" name="Freeform 9"/>
                <p:cNvSpPr>
                  <a:spLocks noChangeAspect="1" noEditPoints="1"/>
                </p:cNvSpPr>
                <p:nvPr/>
              </p:nvSpPr>
              <p:spPr bwMode="black">
                <a:xfrm>
                  <a:off x="7589837" y="4962285"/>
                  <a:ext cx="412151" cy="334185"/>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accent2">
                    <a:lumMod val="60000"/>
                    <a:lumOff val="40000"/>
                  </a:schemeClr>
                </a:solidFill>
                <a:ln>
                  <a:noFill/>
                </a:ln>
              </p:spPr>
              <p:txBody>
                <a:bodyPr vert="horz" wrap="square" lIns="68570" tIns="34285" rIns="68570" bIns="34285" numCol="1" anchor="t" anchorCtr="0" compatLnSpc="1">
                  <a:prstTxWarp prst="textNoShape">
                    <a:avLst/>
                  </a:prstTxWarp>
                </a:bodyPr>
                <a:lstStyle/>
                <a:p>
                  <a:pPr defTabSz="932597"/>
                  <a:endParaRPr lang="en-US" dirty="0">
                    <a:solidFill>
                      <a:srgbClr val="0078D7">
                        <a:lumMod val="75000"/>
                      </a:srgbClr>
                    </a:solidFill>
                  </a:endParaRPr>
                </a:p>
              </p:txBody>
            </p:sp>
            <p:sp>
              <p:nvSpPr>
                <p:cNvPr id="100" name="Rectangle 99"/>
                <p:cNvSpPr/>
                <p:nvPr/>
              </p:nvSpPr>
              <p:spPr>
                <a:xfrm>
                  <a:off x="7667213" y="5115226"/>
                  <a:ext cx="502996" cy="225735"/>
                </a:xfrm>
                <a:prstGeom prst="rect">
                  <a:avLst/>
                </a:prstGeom>
              </p:spPr>
              <p:txBody>
                <a:bodyPr wrap="square" lIns="0" tIns="0" rIns="0" bIns="0" anchor="b">
                  <a:spAutoFit/>
                </a:bodyPr>
                <a:lstStyle/>
                <a:p>
                  <a:pPr algn="ctr" defTabSz="838560"/>
                  <a:endParaRPr lang="en-US" sz="1100" dirty="0">
                    <a:ln>
                      <a:solidFill>
                        <a:srgbClr val="FFFFFF">
                          <a:alpha val="0"/>
                        </a:srgbClr>
                      </a:solidFill>
                    </a:ln>
                    <a:solidFill>
                      <a:srgbClr val="0078D7">
                        <a:lumMod val="75000"/>
                      </a:srgbClr>
                    </a:solidFill>
                  </a:endParaRPr>
                </a:p>
              </p:txBody>
            </p:sp>
          </p:grpSp>
          <p:sp>
            <p:nvSpPr>
              <p:cNvPr id="96" name="Rectangle 95"/>
              <p:cNvSpPr/>
              <p:nvPr/>
            </p:nvSpPr>
            <p:spPr>
              <a:xfrm>
                <a:off x="7848407" y="2393422"/>
                <a:ext cx="502995" cy="225735"/>
              </a:xfrm>
              <a:prstGeom prst="rect">
                <a:avLst/>
              </a:prstGeom>
            </p:spPr>
            <p:txBody>
              <a:bodyPr wrap="square" lIns="0" tIns="0" rIns="0" bIns="0" anchor="b">
                <a:spAutoFit/>
              </a:bodyPr>
              <a:lstStyle/>
              <a:p>
                <a:pPr algn="ctr" defTabSz="838560"/>
                <a:r>
                  <a:rPr lang="en-US" sz="1100" dirty="0" smtClean="0">
                    <a:ln>
                      <a:solidFill>
                        <a:srgbClr val="FFFFFF">
                          <a:alpha val="0"/>
                        </a:srgbClr>
                      </a:solidFill>
                    </a:ln>
                    <a:solidFill>
                      <a:srgbClr val="0078D7">
                        <a:lumMod val="75000"/>
                      </a:srgbClr>
                    </a:solidFill>
                  </a:rPr>
                  <a:t>ADFS</a:t>
                </a:r>
                <a:endParaRPr lang="en-US" sz="1100" dirty="0">
                  <a:ln>
                    <a:solidFill>
                      <a:srgbClr val="FFFFFF">
                        <a:alpha val="0"/>
                      </a:srgbClr>
                    </a:solidFill>
                  </a:ln>
                  <a:solidFill>
                    <a:srgbClr val="0078D7">
                      <a:lumMod val="75000"/>
                    </a:srgbClr>
                  </a:solidFill>
                </a:endParaRPr>
              </a:p>
            </p:txBody>
          </p:sp>
        </p:grpSp>
      </p:grpSp>
      <p:sp>
        <p:nvSpPr>
          <p:cNvPr id="109" name="TextBox 108"/>
          <p:cNvSpPr txBox="1"/>
          <p:nvPr/>
        </p:nvSpPr>
        <p:spPr>
          <a:xfrm>
            <a:off x="1189037" y="144462"/>
            <a:ext cx="799193" cy="6705600"/>
          </a:xfrm>
          <a:prstGeom prst="rect">
            <a:avLst/>
          </a:prstGeom>
          <a:noFill/>
        </p:spPr>
        <p:txBody>
          <a:bodyPr vert="wordArtVert" wrap="square" lIns="182880" tIns="146304" rIns="182880" bIns="146304" rtlCol="0">
            <a:spAutoFit/>
          </a:bodyPr>
          <a:lstStyle/>
          <a:p>
            <a:pPr defTabSz="932472" fontAlgn="base">
              <a:lnSpc>
                <a:spcPct val="90000"/>
              </a:lnSpc>
              <a:spcBef>
                <a:spcPct val="0"/>
              </a:spcBef>
              <a:spcAft>
                <a:spcPct val="0"/>
              </a:spcAft>
              <a:defRPr/>
            </a:pPr>
            <a:r>
              <a:rPr lang="en-US" sz="2400" dirty="0" smtClean="0">
                <a:gradFill>
                  <a:gsLst>
                    <a:gs pos="0">
                      <a:srgbClr val="FFFFFF"/>
                    </a:gs>
                    <a:gs pos="100000">
                      <a:srgbClr val="FFFFFF"/>
                    </a:gs>
                  </a:gsLst>
                  <a:lin ang="5400000" scaled="0"/>
                </a:gradFill>
                <a:ea typeface="Segoe UI" pitchFamily="34" charset="0"/>
                <a:cs typeface="Segoe UI" pitchFamily="34" charset="0"/>
              </a:rPr>
              <a:t>HYBRID AD</a:t>
            </a: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414805621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7" grpId="0" animBg="1"/>
    </p:bldLst>
  </p:timing>
</p:sld>
</file>

<file path=ppt/slides/slide32.xml><?xml version="1.0" encoding="utf-8"?>
<p:sld xmlns:a="http://schemas.openxmlformats.org/drawingml/2006/main" xmlns:r="http://schemas.openxmlformats.org/officeDocument/2006/relationships" xmlns:p="http://schemas.openxmlformats.org/presentationml/2006/main" showMasterSp="0">
  <p:cSld>
    <p:bg>
      <p:bgPr>
        <a:solidFill>
          <a:srgbClr val="505050"/>
        </a:solidFill>
        <a:effectLst/>
      </p:bgPr>
    </p:bg>
    <p:spTree>
      <p:nvGrpSpPr>
        <p:cNvPr id="1" name=""/>
        <p:cNvGrpSpPr/>
        <p:nvPr/>
      </p:nvGrpSpPr>
      <p:grpSpPr>
        <a:xfrm>
          <a:off x="0" y="0"/>
          <a:ext cx="0" cy="0"/>
          <a:chOff x="0" y="0"/>
          <a:chExt cx="0" cy="0"/>
        </a:xfrm>
      </p:grpSpPr>
      <p:sp>
        <p:nvSpPr>
          <p:cNvPr id="10" name="Rounded Rectangle 9"/>
          <p:cNvSpPr/>
          <p:nvPr>
            <p:custDataLst>
              <p:tags r:id="rId2"/>
            </p:custDataLst>
          </p:nvPr>
        </p:nvSpPr>
        <p:spPr bwMode="auto">
          <a:xfrm>
            <a:off x="2521799" y="1592262"/>
            <a:ext cx="8497038" cy="4495800"/>
          </a:xfrm>
          <a:prstGeom prst="roundRect">
            <a:avLst/>
          </a:prstGeom>
          <a:solidFill>
            <a:schemeClr val="bg2">
              <a:lumMod val="60000"/>
              <a:lumOff val="40000"/>
            </a:schemeClr>
          </a:solidFill>
          <a:ln w="76200">
            <a:solidFill>
              <a:schemeClr val="accent2">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3908" tIns="41954" rIns="83908" bIns="41954" numCol="1" rtlCol="0" anchor="ctr" anchorCtr="0" compatLnSpc="1">
            <a:prstTxWarp prst="textNoShape">
              <a:avLst/>
            </a:prstTxWarp>
          </a:bodyPr>
          <a:lstStyle/>
          <a:p>
            <a:pPr algn="ctr" defTabSz="838846"/>
            <a:endParaRPr lang="en-US" sz="3200" dirty="0">
              <a:solidFill>
                <a:srgbClr val="0078D7">
                  <a:lumMod val="75000"/>
                </a:srgbClr>
              </a:solidFill>
            </a:endParaRPr>
          </a:p>
        </p:txBody>
      </p:sp>
      <p:grpSp>
        <p:nvGrpSpPr>
          <p:cNvPr id="3" name="Group 2"/>
          <p:cNvGrpSpPr/>
          <p:nvPr/>
        </p:nvGrpSpPr>
        <p:grpSpPr>
          <a:xfrm>
            <a:off x="3222770" y="4176621"/>
            <a:ext cx="584712" cy="729530"/>
            <a:chOff x="4530698" y="4378709"/>
            <a:chExt cx="584712" cy="729530"/>
          </a:xfrm>
        </p:grpSpPr>
        <p:sp>
          <p:nvSpPr>
            <p:cNvPr id="51" name="Rectangle 50"/>
            <p:cNvSpPr/>
            <p:nvPr/>
          </p:nvSpPr>
          <p:spPr>
            <a:xfrm>
              <a:off x="4553299" y="4769685"/>
              <a:ext cx="549831" cy="338554"/>
            </a:xfrm>
            <a:prstGeom prst="rect">
              <a:avLst/>
            </a:prstGeom>
          </p:spPr>
          <p:txBody>
            <a:bodyPr wrap="none" lIns="0" tIns="0" rIns="0" bIns="0" anchor="b">
              <a:spAutoFit/>
            </a:bodyPr>
            <a:lstStyle/>
            <a:p>
              <a:pPr algn="ctr" defTabSz="838560"/>
              <a:r>
                <a:rPr lang="en-US" sz="1100" dirty="0">
                  <a:ln>
                    <a:solidFill>
                      <a:srgbClr val="FFFFFF">
                        <a:alpha val="0"/>
                      </a:srgbClr>
                    </a:solidFill>
                  </a:ln>
                  <a:solidFill>
                    <a:srgbClr val="0078D7">
                      <a:lumMod val="75000"/>
                    </a:srgbClr>
                  </a:solidFill>
                </a:rPr>
                <a:t>Apps on</a:t>
              </a:r>
            </a:p>
            <a:p>
              <a:pPr algn="ctr" defTabSz="838560"/>
              <a:r>
                <a:rPr lang="en-US" sz="1100" dirty="0">
                  <a:ln>
                    <a:solidFill>
                      <a:srgbClr val="FFFFFF">
                        <a:alpha val="0"/>
                      </a:srgbClr>
                    </a:solidFill>
                  </a:ln>
                  <a:solidFill>
                    <a:srgbClr val="0078D7">
                      <a:lumMod val="75000"/>
                    </a:srgbClr>
                  </a:solidFill>
                </a:rPr>
                <a:t>Premises</a:t>
              </a:r>
            </a:p>
          </p:txBody>
        </p:sp>
        <p:grpSp>
          <p:nvGrpSpPr>
            <p:cNvPr id="52" name="Group 51"/>
            <p:cNvGrpSpPr/>
            <p:nvPr/>
          </p:nvGrpSpPr>
          <p:grpSpPr>
            <a:xfrm>
              <a:off x="4530698" y="4378709"/>
              <a:ext cx="584712" cy="410287"/>
              <a:chOff x="10569516" y="1145027"/>
              <a:chExt cx="764507" cy="536449"/>
            </a:xfrm>
          </p:grpSpPr>
          <p:sp>
            <p:nvSpPr>
              <p:cNvPr id="53" name="Freeform 5"/>
              <p:cNvSpPr>
                <a:spLocks noEditPoints="1"/>
              </p:cNvSpPr>
              <p:nvPr/>
            </p:nvSpPr>
            <p:spPr bwMode="auto">
              <a:xfrm>
                <a:off x="10569516" y="1145027"/>
                <a:ext cx="764507" cy="536449"/>
              </a:xfrm>
              <a:custGeom>
                <a:avLst/>
                <a:gdLst>
                  <a:gd name="T0" fmla="*/ 2274 w 2350"/>
                  <a:gd name="T1" fmla="*/ 0 h 1648"/>
                  <a:gd name="T2" fmla="*/ 76 w 2350"/>
                  <a:gd name="T3" fmla="*/ 0 h 1648"/>
                  <a:gd name="T4" fmla="*/ 0 w 2350"/>
                  <a:gd name="T5" fmla="*/ 75 h 1648"/>
                  <a:gd name="T6" fmla="*/ 0 w 2350"/>
                  <a:gd name="T7" fmla="*/ 1573 h 1648"/>
                  <a:gd name="T8" fmla="*/ 76 w 2350"/>
                  <a:gd name="T9" fmla="*/ 1648 h 1648"/>
                  <a:gd name="T10" fmla="*/ 2274 w 2350"/>
                  <a:gd name="T11" fmla="*/ 1648 h 1648"/>
                  <a:gd name="T12" fmla="*/ 2350 w 2350"/>
                  <a:gd name="T13" fmla="*/ 1573 h 1648"/>
                  <a:gd name="T14" fmla="*/ 2350 w 2350"/>
                  <a:gd name="T15" fmla="*/ 75 h 1648"/>
                  <a:gd name="T16" fmla="*/ 2274 w 2350"/>
                  <a:gd name="T17" fmla="*/ 0 h 1648"/>
                  <a:gd name="T18" fmla="*/ 2217 w 2350"/>
                  <a:gd name="T19" fmla="*/ 1454 h 1648"/>
                  <a:gd name="T20" fmla="*/ 2151 w 2350"/>
                  <a:gd name="T21" fmla="*/ 1516 h 1648"/>
                  <a:gd name="T22" fmla="*/ 199 w 2350"/>
                  <a:gd name="T23" fmla="*/ 1516 h 1648"/>
                  <a:gd name="T24" fmla="*/ 133 w 2350"/>
                  <a:gd name="T25" fmla="*/ 1454 h 1648"/>
                  <a:gd name="T26" fmla="*/ 133 w 2350"/>
                  <a:gd name="T27" fmla="*/ 199 h 1648"/>
                  <a:gd name="T28" fmla="*/ 199 w 2350"/>
                  <a:gd name="T29" fmla="*/ 132 h 1648"/>
                  <a:gd name="T30" fmla="*/ 2151 w 2350"/>
                  <a:gd name="T31" fmla="*/ 132 h 1648"/>
                  <a:gd name="T32" fmla="*/ 2217 w 2350"/>
                  <a:gd name="T33" fmla="*/ 199 h 1648"/>
                  <a:gd name="T34" fmla="*/ 2217 w 2350"/>
                  <a:gd name="T35" fmla="*/ 1454 h 1648"/>
                  <a:gd name="T36" fmla="*/ 2217 w 2350"/>
                  <a:gd name="T37" fmla="*/ 1454 h 1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50" h="1648">
                    <a:moveTo>
                      <a:pt x="2274" y="0"/>
                    </a:moveTo>
                    <a:cubicBezTo>
                      <a:pt x="76" y="0"/>
                      <a:pt x="76" y="0"/>
                      <a:pt x="76" y="0"/>
                    </a:cubicBezTo>
                    <a:cubicBezTo>
                      <a:pt x="31" y="0"/>
                      <a:pt x="0" y="35"/>
                      <a:pt x="0" y="75"/>
                    </a:cubicBezTo>
                    <a:cubicBezTo>
                      <a:pt x="0" y="1573"/>
                      <a:pt x="0" y="1573"/>
                      <a:pt x="0" y="1573"/>
                    </a:cubicBezTo>
                    <a:cubicBezTo>
                      <a:pt x="0" y="1617"/>
                      <a:pt x="31" y="1648"/>
                      <a:pt x="76" y="1648"/>
                    </a:cubicBezTo>
                    <a:cubicBezTo>
                      <a:pt x="2274" y="1648"/>
                      <a:pt x="2274" y="1648"/>
                      <a:pt x="2274" y="1648"/>
                    </a:cubicBezTo>
                    <a:cubicBezTo>
                      <a:pt x="2319" y="1648"/>
                      <a:pt x="2350" y="1617"/>
                      <a:pt x="2350" y="1573"/>
                    </a:cubicBezTo>
                    <a:cubicBezTo>
                      <a:pt x="2350" y="75"/>
                      <a:pt x="2350" y="75"/>
                      <a:pt x="2350" y="75"/>
                    </a:cubicBezTo>
                    <a:cubicBezTo>
                      <a:pt x="2350" y="35"/>
                      <a:pt x="2319" y="0"/>
                      <a:pt x="2274" y="0"/>
                    </a:cubicBezTo>
                    <a:close/>
                    <a:moveTo>
                      <a:pt x="2217" y="1454"/>
                    </a:moveTo>
                    <a:cubicBezTo>
                      <a:pt x="2217" y="1489"/>
                      <a:pt x="2186" y="1516"/>
                      <a:pt x="2151" y="1516"/>
                    </a:cubicBezTo>
                    <a:cubicBezTo>
                      <a:pt x="199" y="1516"/>
                      <a:pt x="199" y="1516"/>
                      <a:pt x="199" y="1516"/>
                    </a:cubicBezTo>
                    <a:cubicBezTo>
                      <a:pt x="164" y="1516"/>
                      <a:pt x="133" y="1489"/>
                      <a:pt x="133" y="1454"/>
                    </a:cubicBezTo>
                    <a:cubicBezTo>
                      <a:pt x="133" y="199"/>
                      <a:pt x="133" y="199"/>
                      <a:pt x="133" y="199"/>
                    </a:cubicBezTo>
                    <a:cubicBezTo>
                      <a:pt x="133" y="163"/>
                      <a:pt x="164" y="132"/>
                      <a:pt x="199" y="132"/>
                    </a:cubicBezTo>
                    <a:cubicBezTo>
                      <a:pt x="2151" y="132"/>
                      <a:pt x="2151" y="132"/>
                      <a:pt x="2151" y="132"/>
                    </a:cubicBezTo>
                    <a:cubicBezTo>
                      <a:pt x="2186" y="132"/>
                      <a:pt x="2217" y="163"/>
                      <a:pt x="2217" y="199"/>
                    </a:cubicBezTo>
                    <a:cubicBezTo>
                      <a:pt x="2217" y="1454"/>
                      <a:pt x="2217" y="1454"/>
                      <a:pt x="2217" y="1454"/>
                    </a:cubicBezTo>
                    <a:cubicBezTo>
                      <a:pt x="2217" y="1454"/>
                      <a:pt x="2217" y="1454"/>
                      <a:pt x="2217" y="1454"/>
                    </a:cubicBezTo>
                    <a:close/>
                  </a:path>
                </a:pathLst>
              </a:custGeom>
              <a:solidFill>
                <a:srgbClr val="FFFFFF"/>
              </a:solidFill>
              <a:ln>
                <a:noFill/>
              </a:ln>
              <a:extLst/>
            </p:spPr>
            <p:txBody>
              <a:bodyPr vert="horz" wrap="square" lIns="69935" tIns="34968" rIns="69935" bIns="34968" numCol="1" anchor="t" anchorCtr="0" compatLnSpc="1">
                <a:prstTxWarp prst="textNoShape">
                  <a:avLst/>
                </a:prstTxWarp>
              </a:bodyPr>
              <a:lstStyle/>
              <a:p>
                <a:pPr defTabSz="713230">
                  <a:defRPr/>
                </a:pPr>
                <a:endParaRPr lang="en-US" kern="0">
                  <a:solidFill>
                    <a:srgbClr val="0078D7">
                      <a:lumMod val="75000"/>
                    </a:srgbClr>
                  </a:solidFill>
                </a:endParaRPr>
              </a:p>
            </p:txBody>
          </p:sp>
          <p:pic>
            <p:nvPicPr>
              <p:cNvPr id="54" name="Picture 53"/>
              <p:cNvPicPr>
                <a:picLocks noChangeAspect="1"/>
              </p:cNvPicPr>
              <p:nvPr/>
            </p:nvPicPr>
            <p:blipFill rotWithShape="1">
              <a:blip r:embed="rId5" cstate="print">
                <a:extLst>
                  <a:ext uri="{28A0092B-C50C-407E-A947-70E740481C1C}">
                    <a14:useLocalDpi xmlns:a14="http://schemas.microsoft.com/office/drawing/2010/main" val="0"/>
                  </a:ext>
                </a:extLst>
              </a:blip>
              <a:srcRect t="1475" b="1715"/>
              <a:stretch/>
            </p:blipFill>
            <p:spPr>
              <a:xfrm>
                <a:off x="10733900" y="1210100"/>
                <a:ext cx="425042" cy="411480"/>
              </a:xfrm>
              <a:prstGeom prst="rect">
                <a:avLst/>
              </a:prstGeom>
            </p:spPr>
          </p:pic>
        </p:grpSp>
      </p:grpSp>
      <p:sp>
        <p:nvSpPr>
          <p:cNvPr id="74" name="Rectangle 73"/>
          <p:cNvSpPr/>
          <p:nvPr/>
        </p:nvSpPr>
        <p:spPr>
          <a:xfrm>
            <a:off x="6374502" y="5385961"/>
            <a:ext cx="726990" cy="343464"/>
          </a:xfrm>
          <a:prstGeom prst="rect">
            <a:avLst/>
          </a:prstGeom>
          <a:noFill/>
          <a:ln>
            <a:noFill/>
          </a:ln>
        </p:spPr>
        <p:txBody>
          <a:bodyPr wrap="square" lIns="0" tIns="0" rIns="0" bIns="0" anchor="ctr" anchorCtr="0">
            <a:noAutofit/>
          </a:bodyPr>
          <a:lstStyle/>
          <a:p>
            <a:pPr defTabSz="838811">
              <a:spcBef>
                <a:spcPts val="1101"/>
              </a:spcBef>
            </a:pPr>
            <a:r>
              <a:rPr lang="en-US" sz="1200" dirty="0">
                <a:ln>
                  <a:solidFill>
                    <a:srgbClr val="FFFFFF">
                      <a:alpha val="0"/>
                    </a:srgbClr>
                  </a:solidFill>
                </a:ln>
                <a:solidFill>
                  <a:srgbClr val="0078D7">
                    <a:lumMod val="75000"/>
                  </a:srgbClr>
                </a:solidFill>
              </a:rPr>
              <a:t>File Servers, Printers…</a:t>
            </a:r>
          </a:p>
        </p:txBody>
      </p:sp>
      <p:grpSp>
        <p:nvGrpSpPr>
          <p:cNvPr id="76" name="Group 75"/>
          <p:cNvGrpSpPr/>
          <p:nvPr/>
        </p:nvGrpSpPr>
        <p:grpSpPr>
          <a:xfrm>
            <a:off x="5819327" y="5364733"/>
            <a:ext cx="443446" cy="354300"/>
            <a:chOff x="5918883" y="5459226"/>
            <a:chExt cx="591344" cy="472467"/>
          </a:xfrm>
        </p:grpSpPr>
        <p:sp>
          <p:nvSpPr>
            <p:cNvPr id="77" name="Freeform 836"/>
            <p:cNvSpPr>
              <a:spLocks noEditPoints="1"/>
            </p:cNvSpPr>
            <p:nvPr/>
          </p:nvSpPr>
          <p:spPr bwMode="auto">
            <a:xfrm>
              <a:off x="6109572" y="5459226"/>
              <a:ext cx="240009" cy="383443"/>
            </a:xfrm>
            <a:custGeom>
              <a:avLst/>
              <a:gdLst>
                <a:gd name="T0" fmla="*/ 1845 w 2151"/>
                <a:gd name="T1" fmla="*/ 3532 h 4079"/>
                <a:gd name="T2" fmla="*/ 1916 w 2151"/>
                <a:gd name="T3" fmla="*/ 3672 h 4079"/>
                <a:gd name="T4" fmla="*/ 305 w 2151"/>
                <a:gd name="T5" fmla="*/ 3290 h 4079"/>
                <a:gd name="T6" fmla="*/ 234 w 2151"/>
                <a:gd name="T7" fmla="*/ 3151 h 4079"/>
                <a:gd name="T8" fmla="*/ 234 w 2151"/>
                <a:gd name="T9" fmla="*/ 3151 h 4079"/>
                <a:gd name="T10" fmla="*/ 556 w 2151"/>
                <a:gd name="T11" fmla="*/ 2914 h 4079"/>
                <a:gd name="T12" fmla="*/ 628 w 2151"/>
                <a:gd name="T13" fmla="*/ 3053 h 4079"/>
                <a:gd name="T14" fmla="*/ 305 w 2151"/>
                <a:gd name="T15" fmla="*/ 954 h 4079"/>
                <a:gd name="T16" fmla="*/ 234 w 2151"/>
                <a:gd name="T17" fmla="*/ 745 h 4079"/>
                <a:gd name="T18" fmla="*/ 234 w 2151"/>
                <a:gd name="T19" fmla="*/ 745 h 4079"/>
                <a:gd name="T20" fmla="*/ 1845 w 2151"/>
                <a:gd name="T21" fmla="*/ 483 h 4079"/>
                <a:gd name="T22" fmla="*/ 1916 w 2151"/>
                <a:gd name="T23" fmla="*/ 694 h 4079"/>
                <a:gd name="T24" fmla="*/ 292 w 2151"/>
                <a:gd name="T25" fmla="*/ 74 h 4079"/>
                <a:gd name="T26" fmla="*/ 214 w 2151"/>
                <a:gd name="T27" fmla="*/ 90 h 4079"/>
                <a:gd name="T28" fmla="*/ 142 w 2151"/>
                <a:gd name="T29" fmla="*/ 132 h 4079"/>
                <a:gd name="T30" fmla="*/ 92 w 2151"/>
                <a:gd name="T31" fmla="*/ 197 h 4079"/>
                <a:gd name="T32" fmla="*/ 73 w 2151"/>
                <a:gd name="T33" fmla="*/ 259 h 4079"/>
                <a:gd name="T34" fmla="*/ 73 w 2151"/>
                <a:gd name="T35" fmla="*/ 3820 h 4079"/>
                <a:gd name="T36" fmla="*/ 102 w 2151"/>
                <a:gd name="T37" fmla="*/ 3902 h 4079"/>
                <a:gd name="T38" fmla="*/ 160 w 2151"/>
                <a:gd name="T39" fmla="*/ 3961 h 4079"/>
                <a:gd name="T40" fmla="*/ 238 w 2151"/>
                <a:gd name="T41" fmla="*/ 3997 h 4079"/>
                <a:gd name="T42" fmla="*/ 313 w 2151"/>
                <a:gd name="T43" fmla="*/ 4007 h 4079"/>
                <a:gd name="T44" fmla="*/ 1887 w 2151"/>
                <a:gd name="T45" fmla="*/ 4003 h 4079"/>
                <a:gd name="T46" fmla="*/ 1979 w 2151"/>
                <a:gd name="T47" fmla="*/ 3969 h 4079"/>
                <a:gd name="T48" fmla="*/ 2042 w 2151"/>
                <a:gd name="T49" fmla="*/ 3912 h 4079"/>
                <a:gd name="T50" fmla="*/ 2070 w 2151"/>
                <a:gd name="T51" fmla="*/ 3861 h 4079"/>
                <a:gd name="T52" fmla="*/ 2079 w 2151"/>
                <a:gd name="T53" fmla="*/ 3803 h 4079"/>
                <a:gd name="T54" fmla="*/ 2074 w 2151"/>
                <a:gd name="T55" fmla="*/ 236 h 4079"/>
                <a:gd name="T56" fmla="*/ 2049 w 2151"/>
                <a:gd name="T57" fmla="*/ 176 h 4079"/>
                <a:gd name="T58" fmla="*/ 1992 w 2151"/>
                <a:gd name="T59" fmla="*/ 118 h 4079"/>
                <a:gd name="T60" fmla="*/ 1914 w 2151"/>
                <a:gd name="T61" fmla="*/ 82 h 4079"/>
                <a:gd name="T62" fmla="*/ 1839 w 2151"/>
                <a:gd name="T63" fmla="*/ 72 h 4079"/>
                <a:gd name="T64" fmla="*/ 1867 w 2151"/>
                <a:gd name="T65" fmla="*/ 2 h 4079"/>
                <a:gd name="T66" fmla="*/ 1953 w 2151"/>
                <a:gd name="T67" fmla="*/ 20 h 4079"/>
                <a:gd name="T68" fmla="*/ 2029 w 2151"/>
                <a:gd name="T69" fmla="*/ 59 h 4079"/>
                <a:gd name="T70" fmla="*/ 2093 w 2151"/>
                <a:gd name="T71" fmla="*/ 117 h 4079"/>
                <a:gd name="T72" fmla="*/ 2136 w 2151"/>
                <a:gd name="T73" fmla="*/ 191 h 4079"/>
                <a:gd name="T74" fmla="*/ 2150 w 2151"/>
                <a:gd name="T75" fmla="*/ 252 h 4079"/>
                <a:gd name="T76" fmla="*/ 2149 w 2151"/>
                <a:gd name="T77" fmla="*/ 3835 h 4079"/>
                <a:gd name="T78" fmla="*/ 2126 w 2151"/>
                <a:gd name="T79" fmla="*/ 3911 h 4079"/>
                <a:gd name="T80" fmla="*/ 2077 w 2151"/>
                <a:gd name="T81" fmla="*/ 3981 h 4079"/>
                <a:gd name="T82" fmla="*/ 2008 w 2151"/>
                <a:gd name="T83" fmla="*/ 4034 h 4079"/>
                <a:gd name="T84" fmla="*/ 1929 w 2151"/>
                <a:gd name="T85" fmla="*/ 4068 h 4079"/>
                <a:gd name="T86" fmla="*/ 1839 w 2151"/>
                <a:gd name="T87" fmla="*/ 4079 h 4079"/>
                <a:gd name="T88" fmla="*/ 250 w 2151"/>
                <a:gd name="T89" fmla="*/ 4074 h 4079"/>
                <a:gd name="T90" fmla="*/ 167 w 2151"/>
                <a:gd name="T91" fmla="*/ 4047 h 4079"/>
                <a:gd name="T92" fmla="*/ 92 w 2151"/>
                <a:gd name="T93" fmla="*/ 3998 h 4079"/>
                <a:gd name="T94" fmla="*/ 36 w 2151"/>
                <a:gd name="T95" fmla="*/ 3932 h 4079"/>
                <a:gd name="T96" fmla="*/ 7 w 2151"/>
                <a:gd name="T97" fmla="*/ 3859 h 4079"/>
                <a:gd name="T98" fmla="*/ 0 w 2151"/>
                <a:gd name="T99" fmla="*/ 277 h 4079"/>
                <a:gd name="T100" fmla="*/ 14 w 2151"/>
                <a:gd name="T101" fmla="*/ 197 h 4079"/>
                <a:gd name="T102" fmla="*/ 45 w 2151"/>
                <a:gd name="T103" fmla="*/ 137 h 4079"/>
                <a:gd name="T104" fmla="*/ 112 w 2151"/>
                <a:gd name="T105" fmla="*/ 66 h 4079"/>
                <a:gd name="T106" fmla="*/ 191 w 2151"/>
                <a:gd name="T107" fmla="*/ 23 h 4079"/>
                <a:gd name="T108" fmla="*/ 277 w 2151"/>
                <a:gd name="T109" fmla="*/ 3 h 40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51" h="4079">
                  <a:moveTo>
                    <a:pt x="305" y="3532"/>
                  </a:moveTo>
                  <a:lnTo>
                    <a:pt x="305" y="3600"/>
                  </a:lnTo>
                  <a:lnTo>
                    <a:pt x="1845" y="3600"/>
                  </a:lnTo>
                  <a:lnTo>
                    <a:pt x="1845" y="3532"/>
                  </a:lnTo>
                  <a:lnTo>
                    <a:pt x="305" y="3532"/>
                  </a:lnTo>
                  <a:close/>
                  <a:moveTo>
                    <a:pt x="234" y="3460"/>
                  </a:moveTo>
                  <a:lnTo>
                    <a:pt x="1916" y="3460"/>
                  </a:lnTo>
                  <a:lnTo>
                    <a:pt x="1916" y="3672"/>
                  </a:lnTo>
                  <a:lnTo>
                    <a:pt x="234" y="3672"/>
                  </a:lnTo>
                  <a:lnTo>
                    <a:pt x="234" y="3460"/>
                  </a:lnTo>
                  <a:close/>
                  <a:moveTo>
                    <a:pt x="305" y="3223"/>
                  </a:moveTo>
                  <a:lnTo>
                    <a:pt x="305" y="3290"/>
                  </a:lnTo>
                  <a:lnTo>
                    <a:pt x="556" y="3290"/>
                  </a:lnTo>
                  <a:lnTo>
                    <a:pt x="556" y="3223"/>
                  </a:lnTo>
                  <a:lnTo>
                    <a:pt x="305" y="3223"/>
                  </a:lnTo>
                  <a:close/>
                  <a:moveTo>
                    <a:pt x="234" y="3151"/>
                  </a:moveTo>
                  <a:lnTo>
                    <a:pt x="628" y="3151"/>
                  </a:lnTo>
                  <a:lnTo>
                    <a:pt x="628" y="3362"/>
                  </a:lnTo>
                  <a:lnTo>
                    <a:pt x="234" y="3362"/>
                  </a:lnTo>
                  <a:lnTo>
                    <a:pt x="234" y="3151"/>
                  </a:lnTo>
                  <a:close/>
                  <a:moveTo>
                    <a:pt x="305" y="2914"/>
                  </a:moveTo>
                  <a:lnTo>
                    <a:pt x="305" y="2982"/>
                  </a:lnTo>
                  <a:lnTo>
                    <a:pt x="556" y="2982"/>
                  </a:lnTo>
                  <a:lnTo>
                    <a:pt x="556" y="2914"/>
                  </a:lnTo>
                  <a:lnTo>
                    <a:pt x="305" y="2914"/>
                  </a:lnTo>
                  <a:close/>
                  <a:moveTo>
                    <a:pt x="234" y="2842"/>
                  </a:moveTo>
                  <a:lnTo>
                    <a:pt x="628" y="2842"/>
                  </a:lnTo>
                  <a:lnTo>
                    <a:pt x="628" y="3053"/>
                  </a:lnTo>
                  <a:lnTo>
                    <a:pt x="234" y="3053"/>
                  </a:lnTo>
                  <a:lnTo>
                    <a:pt x="234" y="2842"/>
                  </a:lnTo>
                  <a:close/>
                  <a:moveTo>
                    <a:pt x="305" y="817"/>
                  </a:moveTo>
                  <a:lnTo>
                    <a:pt x="305" y="954"/>
                  </a:lnTo>
                  <a:lnTo>
                    <a:pt x="1845" y="954"/>
                  </a:lnTo>
                  <a:lnTo>
                    <a:pt x="1845" y="817"/>
                  </a:lnTo>
                  <a:lnTo>
                    <a:pt x="305" y="817"/>
                  </a:lnTo>
                  <a:close/>
                  <a:moveTo>
                    <a:pt x="234" y="745"/>
                  </a:moveTo>
                  <a:lnTo>
                    <a:pt x="1916" y="745"/>
                  </a:lnTo>
                  <a:lnTo>
                    <a:pt x="1916" y="1026"/>
                  </a:lnTo>
                  <a:lnTo>
                    <a:pt x="234" y="1026"/>
                  </a:lnTo>
                  <a:lnTo>
                    <a:pt x="234" y="745"/>
                  </a:lnTo>
                  <a:close/>
                  <a:moveTo>
                    <a:pt x="305" y="483"/>
                  </a:moveTo>
                  <a:lnTo>
                    <a:pt x="305" y="622"/>
                  </a:lnTo>
                  <a:lnTo>
                    <a:pt x="1845" y="622"/>
                  </a:lnTo>
                  <a:lnTo>
                    <a:pt x="1845" y="483"/>
                  </a:lnTo>
                  <a:lnTo>
                    <a:pt x="305" y="483"/>
                  </a:lnTo>
                  <a:close/>
                  <a:moveTo>
                    <a:pt x="234" y="412"/>
                  </a:moveTo>
                  <a:lnTo>
                    <a:pt x="1916" y="412"/>
                  </a:lnTo>
                  <a:lnTo>
                    <a:pt x="1916" y="694"/>
                  </a:lnTo>
                  <a:lnTo>
                    <a:pt x="234" y="694"/>
                  </a:lnTo>
                  <a:lnTo>
                    <a:pt x="234" y="412"/>
                  </a:lnTo>
                  <a:close/>
                  <a:moveTo>
                    <a:pt x="313" y="72"/>
                  </a:moveTo>
                  <a:lnTo>
                    <a:pt x="292" y="74"/>
                  </a:lnTo>
                  <a:lnTo>
                    <a:pt x="292" y="74"/>
                  </a:lnTo>
                  <a:lnTo>
                    <a:pt x="265" y="76"/>
                  </a:lnTo>
                  <a:lnTo>
                    <a:pt x="238" y="82"/>
                  </a:lnTo>
                  <a:lnTo>
                    <a:pt x="214" y="90"/>
                  </a:lnTo>
                  <a:lnTo>
                    <a:pt x="196" y="98"/>
                  </a:lnTo>
                  <a:lnTo>
                    <a:pt x="172" y="111"/>
                  </a:lnTo>
                  <a:lnTo>
                    <a:pt x="160" y="118"/>
                  </a:lnTo>
                  <a:lnTo>
                    <a:pt x="142" y="132"/>
                  </a:lnTo>
                  <a:lnTo>
                    <a:pt x="125" y="149"/>
                  </a:lnTo>
                  <a:lnTo>
                    <a:pt x="109" y="168"/>
                  </a:lnTo>
                  <a:lnTo>
                    <a:pt x="102" y="178"/>
                  </a:lnTo>
                  <a:lnTo>
                    <a:pt x="92" y="197"/>
                  </a:lnTo>
                  <a:lnTo>
                    <a:pt x="82" y="218"/>
                  </a:lnTo>
                  <a:lnTo>
                    <a:pt x="77" y="236"/>
                  </a:lnTo>
                  <a:lnTo>
                    <a:pt x="73" y="259"/>
                  </a:lnTo>
                  <a:lnTo>
                    <a:pt x="73" y="259"/>
                  </a:lnTo>
                  <a:lnTo>
                    <a:pt x="72" y="277"/>
                  </a:lnTo>
                  <a:lnTo>
                    <a:pt x="72" y="3803"/>
                  </a:lnTo>
                  <a:lnTo>
                    <a:pt x="73" y="3820"/>
                  </a:lnTo>
                  <a:lnTo>
                    <a:pt x="73" y="3820"/>
                  </a:lnTo>
                  <a:lnTo>
                    <a:pt x="77" y="3844"/>
                  </a:lnTo>
                  <a:lnTo>
                    <a:pt x="82" y="3861"/>
                  </a:lnTo>
                  <a:lnTo>
                    <a:pt x="92" y="3882"/>
                  </a:lnTo>
                  <a:lnTo>
                    <a:pt x="102" y="3902"/>
                  </a:lnTo>
                  <a:lnTo>
                    <a:pt x="109" y="3912"/>
                  </a:lnTo>
                  <a:lnTo>
                    <a:pt x="125" y="3930"/>
                  </a:lnTo>
                  <a:lnTo>
                    <a:pt x="142" y="3948"/>
                  </a:lnTo>
                  <a:lnTo>
                    <a:pt x="160" y="3961"/>
                  </a:lnTo>
                  <a:lnTo>
                    <a:pt x="172" y="3969"/>
                  </a:lnTo>
                  <a:lnTo>
                    <a:pt x="196" y="3981"/>
                  </a:lnTo>
                  <a:lnTo>
                    <a:pt x="214" y="3990"/>
                  </a:lnTo>
                  <a:lnTo>
                    <a:pt x="238" y="3997"/>
                  </a:lnTo>
                  <a:lnTo>
                    <a:pt x="265" y="4003"/>
                  </a:lnTo>
                  <a:lnTo>
                    <a:pt x="284" y="4006"/>
                  </a:lnTo>
                  <a:lnTo>
                    <a:pt x="284" y="4006"/>
                  </a:lnTo>
                  <a:lnTo>
                    <a:pt x="313" y="4007"/>
                  </a:lnTo>
                  <a:lnTo>
                    <a:pt x="1839" y="4007"/>
                  </a:lnTo>
                  <a:lnTo>
                    <a:pt x="1867" y="4006"/>
                  </a:lnTo>
                  <a:lnTo>
                    <a:pt x="1867" y="4006"/>
                  </a:lnTo>
                  <a:lnTo>
                    <a:pt x="1887" y="4003"/>
                  </a:lnTo>
                  <a:lnTo>
                    <a:pt x="1914" y="3997"/>
                  </a:lnTo>
                  <a:lnTo>
                    <a:pt x="1937" y="3990"/>
                  </a:lnTo>
                  <a:lnTo>
                    <a:pt x="1956" y="3981"/>
                  </a:lnTo>
                  <a:lnTo>
                    <a:pt x="1979" y="3969"/>
                  </a:lnTo>
                  <a:lnTo>
                    <a:pt x="1992" y="3961"/>
                  </a:lnTo>
                  <a:lnTo>
                    <a:pt x="2009" y="3948"/>
                  </a:lnTo>
                  <a:lnTo>
                    <a:pt x="2026" y="3930"/>
                  </a:lnTo>
                  <a:lnTo>
                    <a:pt x="2042" y="3912"/>
                  </a:lnTo>
                  <a:lnTo>
                    <a:pt x="2049" y="3903"/>
                  </a:lnTo>
                  <a:lnTo>
                    <a:pt x="2049" y="3903"/>
                  </a:lnTo>
                  <a:lnTo>
                    <a:pt x="2060" y="3882"/>
                  </a:lnTo>
                  <a:lnTo>
                    <a:pt x="2070" y="3861"/>
                  </a:lnTo>
                  <a:lnTo>
                    <a:pt x="2074" y="3844"/>
                  </a:lnTo>
                  <a:lnTo>
                    <a:pt x="2078" y="3820"/>
                  </a:lnTo>
                  <a:lnTo>
                    <a:pt x="2078" y="3820"/>
                  </a:lnTo>
                  <a:lnTo>
                    <a:pt x="2079" y="3803"/>
                  </a:lnTo>
                  <a:lnTo>
                    <a:pt x="2079" y="277"/>
                  </a:lnTo>
                  <a:lnTo>
                    <a:pt x="2078" y="259"/>
                  </a:lnTo>
                  <a:lnTo>
                    <a:pt x="2078" y="259"/>
                  </a:lnTo>
                  <a:lnTo>
                    <a:pt x="2074" y="236"/>
                  </a:lnTo>
                  <a:lnTo>
                    <a:pt x="2070" y="218"/>
                  </a:lnTo>
                  <a:lnTo>
                    <a:pt x="2060" y="197"/>
                  </a:lnTo>
                  <a:lnTo>
                    <a:pt x="2049" y="176"/>
                  </a:lnTo>
                  <a:lnTo>
                    <a:pt x="2049" y="176"/>
                  </a:lnTo>
                  <a:lnTo>
                    <a:pt x="2042" y="168"/>
                  </a:lnTo>
                  <a:lnTo>
                    <a:pt x="2026" y="149"/>
                  </a:lnTo>
                  <a:lnTo>
                    <a:pt x="2009" y="132"/>
                  </a:lnTo>
                  <a:lnTo>
                    <a:pt x="1992" y="118"/>
                  </a:lnTo>
                  <a:lnTo>
                    <a:pt x="1979" y="111"/>
                  </a:lnTo>
                  <a:lnTo>
                    <a:pt x="1956" y="98"/>
                  </a:lnTo>
                  <a:lnTo>
                    <a:pt x="1937" y="90"/>
                  </a:lnTo>
                  <a:lnTo>
                    <a:pt x="1914" y="82"/>
                  </a:lnTo>
                  <a:lnTo>
                    <a:pt x="1887" y="76"/>
                  </a:lnTo>
                  <a:lnTo>
                    <a:pt x="1860" y="74"/>
                  </a:lnTo>
                  <a:lnTo>
                    <a:pt x="1860" y="74"/>
                  </a:lnTo>
                  <a:lnTo>
                    <a:pt x="1839" y="72"/>
                  </a:lnTo>
                  <a:lnTo>
                    <a:pt x="313" y="72"/>
                  </a:lnTo>
                  <a:close/>
                  <a:moveTo>
                    <a:pt x="312" y="0"/>
                  </a:moveTo>
                  <a:lnTo>
                    <a:pt x="1840" y="0"/>
                  </a:lnTo>
                  <a:lnTo>
                    <a:pt x="1867" y="2"/>
                  </a:lnTo>
                  <a:lnTo>
                    <a:pt x="1874" y="3"/>
                  </a:lnTo>
                  <a:lnTo>
                    <a:pt x="1902" y="5"/>
                  </a:lnTo>
                  <a:lnTo>
                    <a:pt x="1929" y="12"/>
                  </a:lnTo>
                  <a:lnTo>
                    <a:pt x="1953" y="20"/>
                  </a:lnTo>
                  <a:lnTo>
                    <a:pt x="1961" y="23"/>
                  </a:lnTo>
                  <a:lnTo>
                    <a:pt x="1984" y="33"/>
                  </a:lnTo>
                  <a:lnTo>
                    <a:pt x="2008" y="45"/>
                  </a:lnTo>
                  <a:lnTo>
                    <a:pt x="2029" y="59"/>
                  </a:lnTo>
                  <a:lnTo>
                    <a:pt x="2040" y="66"/>
                  </a:lnTo>
                  <a:lnTo>
                    <a:pt x="2060" y="81"/>
                  </a:lnTo>
                  <a:lnTo>
                    <a:pt x="2077" y="98"/>
                  </a:lnTo>
                  <a:lnTo>
                    <a:pt x="2093" y="117"/>
                  </a:lnTo>
                  <a:lnTo>
                    <a:pt x="2108" y="137"/>
                  </a:lnTo>
                  <a:lnTo>
                    <a:pt x="2115" y="148"/>
                  </a:lnTo>
                  <a:lnTo>
                    <a:pt x="2126" y="169"/>
                  </a:lnTo>
                  <a:lnTo>
                    <a:pt x="2136" y="191"/>
                  </a:lnTo>
                  <a:lnTo>
                    <a:pt x="2137" y="197"/>
                  </a:lnTo>
                  <a:lnTo>
                    <a:pt x="2145" y="221"/>
                  </a:lnTo>
                  <a:lnTo>
                    <a:pt x="2149" y="244"/>
                  </a:lnTo>
                  <a:lnTo>
                    <a:pt x="2150" y="252"/>
                  </a:lnTo>
                  <a:lnTo>
                    <a:pt x="2151" y="274"/>
                  </a:lnTo>
                  <a:lnTo>
                    <a:pt x="2151" y="3805"/>
                  </a:lnTo>
                  <a:lnTo>
                    <a:pt x="2150" y="3828"/>
                  </a:lnTo>
                  <a:lnTo>
                    <a:pt x="2149" y="3835"/>
                  </a:lnTo>
                  <a:lnTo>
                    <a:pt x="2145" y="3859"/>
                  </a:lnTo>
                  <a:lnTo>
                    <a:pt x="2137" y="3882"/>
                  </a:lnTo>
                  <a:lnTo>
                    <a:pt x="2136" y="3888"/>
                  </a:lnTo>
                  <a:lnTo>
                    <a:pt x="2126" y="3911"/>
                  </a:lnTo>
                  <a:lnTo>
                    <a:pt x="2115" y="3932"/>
                  </a:lnTo>
                  <a:lnTo>
                    <a:pt x="2108" y="3943"/>
                  </a:lnTo>
                  <a:lnTo>
                    <a:pt x="2093" y="3963"/>
                  </a:lnTo>
                  <a:lnTo>
                    <a:pt x="2077" y="3981"/>
                  </a:lnTo>
                  <a:lnTo>
                    <a:pt x="2060" y="3998"/>
                  </a:lnTo>
                  <a:lnTo>
                    <a:pt x="2040" y="4013"/>
                  </a:lnTo>
                  <a:lnTo>
                    <a:pt x="2029" y="4021"/>
                  </a:lnTo>
                  <a:lnTo>
                    <a:pt x="2008" y="4034"/>
                  </a:lnTo>
                  <a:lnTo>
                    <a:pt x="1984" y="4047"/>
                  </a:lnTo>
                  <a:lnTo>
                    <a:pt x="1961" y="4057"/>
                  </a:lnTo>
                  <a:lnTo>
                    <a:pt x="1953" y="4059"/>
                  </a:lnTo>
                  <a:lnTo>
                    <a:pt x="1929" y="4068"/>
                  </a:lnTo>
                  <a:lnTo>
                    <a:pt x="1902" y="4074"/>
                  </a:lnTo>
                  <a:lnTo>
                    <a:pt x="1874" y="4078"/>
                  </a:lnTo>
                  <a:lnTo>
                    <a:pt x="1867" y="4078"/>
                  </a:lnTo>
                  <a:lnTo>
                    <a:pt x="1839" y="4079"/>
                  </a:lnTo>
                  <a:lnTo>
                    <a:pt x="313" y="4079"/>
                  </a:lnTo>
                  <a:lnTo>
                    <a:pt x="284" y="4078"/>
                  </a:lnTo>
                  <a:lnTo>
                    <a:pt x="277" y="4078"/>
                  </a:lnTo>
                  <a:lnTo>
                    <a:pt x="250" y="4074"/>
                  </a:lnTo>
                  <a:lnTo>
                    <a:pt x="223" y="4068"/>
                  </a:lnTo>
                  <a:lnTo>
                    <a:pt x="198" y="4059"/>
                  </a:lnTo>
                  <a:lnTo>
                    <a:pt x="191" y="4057"/>
                  </a:lnTo>
                  <a:lnTo>
                    <a:pt x="167" y="4047"/>
                  </a:lnTo>
                  <a:lnTo>
                    <a:pt x="144" y="4034"/>
                  </a:lnTo>
                  <a:lnTo>
                    <a:pt x="123" y="4021"/>
                  </a:lnTo>
                  <a:lnTo>
                    <a:pt x="112" y="4013"/>
                  </a:lnTo>
                  <a:lnTo>
                    <a:pt x="92" y="3998"/>
                  </a:lnTo>
                  <a:lnTo>
                    <a:pt x="75" y="3981"/>
                  </a:lnTo>
                  <a:lnTo>
                    <a:pt x="59" y="3963"/>
                  </a:lnTo>
                  <a:lnTo>
                    <a:pt x="45" y="3943"/>
                  </a:lnTo>
                  <a:lnTo>
                    <a:pt x="36" y="3932"/>
                  </a:lnTo>
                  <a:lnTo>
                    <a:pt x="25" y="3911"/>
                  </a:lnTo>
                  <a:lnTo>
                    <a:pt x="15" y="3888"/>
                  </a:lnTo>
                  <a:lnTo>
                    <a:pt x="14" y="3882"/>
                  </a:lnTo>
                  <a:lnTo>
                    <a:pt x="7" y="3859"/>
                  </a:lnTo>
                  <a:lnTo>
                    <a:pt x="3" y="3835"/>
                  </a:lnTo>
                  <a:lnTo>
                    <a:pt x="2" y="3828"/>
                  </a:lnTo>
                  <a:lnTo>
                    <a:pt x="0" y="3803"/>
                  </a:lnTo>
                  <a:lnTo>
                    <a:pt x="0" y="277"/>
                  </a:lnTo>
                  <a:lnTo>
                    <a:pt x="2" y="252"/>
                  </a:lnTo>
                  <a:lnTo>
                    <a:pt x="3" y="244"/>
                  </a:lnTo>
                  <a:lnTo>
                    <a:pt x="7" y="221"/>
                  </a:lnTo>
                  <a:lnTo>
                    <a:pt x="14" y="197"/>
                  </a:lnTo>
                  <a:lnTo>
                    <a:pt x="15" y="191"/>
                  </a:lnTo>
                  <a:lnTo>
                    <a:pt x="25" y="169"/>
                  </a:lnTo>
                  <a:lnTo>
                    <a:pt x="36" y="148"/>
                  </a:lnTo>
                  <a:lnTo>
                    <a:pt x="45" y="137"/>
                  </a:lnTo>
                  <a:lnTo>
                    <a:pt x="59" y="117"/>
                  </a:lnTo>
                  <a:lnTo>
                    <a:pt x="75" y="98"/>
                  </a:lnTo>
                  <a:lnTo>
                    <a:pt x="92" y="81"/>
                  </a:lnTo>
                  <a:lnTo>
                    <a:pt x="112" y="66"/>
                  </a:lnTo>
                  <a:lnTo>
                    <a:pt x="123" y="59"/>
                  </a:lnTo>
                  <a:lnTo>
                    <a:pt x="144" y="45"/>
                  </a:lnTo>
                  <a:lnTo>
                    <a:pt x="167" y="33"/>
                  </a:lnTo>
                  <a:lnTo>
                    <a:pt x="191" y="23"/>
                  </a:lnTo>
                  <a:lnTo>
                    <a:pt x="198" y="20"/>
                  </a:lnTo>
                  <a:lnTo>
                    <a:pt x="223" y="12"/>
                  </a:lnTo>
                  <a:lnTo>
                    <a:pt x="250" y="5"/>
                  </a:lnTo>
                  <a:lnTo>
                    <a:pt x="277" y="3"/>
                  </a:lnTo>
                  <a:lnTo>
                    <a:pt x="284" y="2"/>
                  </a:lnTo>
                  <a:lnTo>
                    <a:pt x="312" y="0"/>
                  </a:lnTo>
                  <a:close/>
                </a:path>
              </a:pathLst>
            </a:custGeom>
            <a:solidFill>
              <a:schemeClr val="tx1"/>
            </a:solidFill>
            <a:ln w="0">
              <a:noFill/>
              <a:prstDash val="solid"/>
              <a:round/>
              <a:headEnd/>
              <a:tailEnd/>
            </a:ln>
          </p:spPr>
          <p:txBody>
            <a:bodyPr vert="horz" wrap="square" lIns="69935" tIns="34968" rIns="69935" bIns="34968" numCol="1" anchor="t" anchorCtr="0" compatLnSpc="1">
              <a:prstTxWarp prst="textNoShape">
                <a:avLst/>
              </a:prstTxWarp>
            </a:bodyPr>
            <a:lstStyle/>
            <a:p>
              <a:pPr defTabSz="713414">
                <a:defRPr/>
              </a:pPr>
              <a:endParaRPr lang="en-GB" kern="0">
                <a:solidFill>
                  <a:srgbClr val="0078D7">
                    <a:lumMod val="75000"/>
                  </a:srgbClr>
                </a:solidFill>
              </a:endParaRPr>
            </a:p>
          </p:txBody>
        </p:sp>
        <p:sp>
          <p:nvSpPr>
            <p:cNvPr id="78" name="Rounded Rectangle 77"/>
            <p:cNvSpPr/>
            <p:nvPr/>
          </p:nvSpPr>
          <p:spPr bwMode="auto">
            <a:xfrm>
              <a:off x="5918883" y="5601517"/>
              <a:ext cx="238693" cy="330176"/>
            </a:xfrm>
            <a:prstGeom prst="roundRect">
              <a:avLst>
                <a:gd name="adj" fmla="val 11805"/>
              </a:avLst>
            </a:prstGeom>
            <a:solidFill>
              <a:srgbClr val="0071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70" tIns="34285" rIns="34285" bIns="68570" numCol="1" spcCol="0" rtlCol="0" fromWordArt="0" anchor="b" anchorCtr="0" forceAA="0" compatLnSpc="1">
              <a:prstTxWarp prst="textNoShape">
                <a:avLst/>
              </a:prstTxWarp>
              <a:noAutofit/>
            </a:bodyPr>
            <a:lstStyle/>
            <a:p>
              <a:pPr algn="ctr" defTabSz="685513" fontAlgn="base">
                <a:spcBef>
                  <a:spcPct val="0"/>
                </a:spcBef>
                <a:spcAft>
                  <a:spcPct val="0"/>
                </a:spcAft>
              </a:pPr>
              <a:endParaRPr lang="en-US" spc="-38" dirty="0">
                <a:solidFill>
                  <a:srgbClr val="0078D7">
                    <a:lumMod val="75000"/>
                  </a:srgbClr>
                </a:solidFill>
                <a:ea typeface="Segoe UI" pitchFamily="34" charset="0"/>
                <a:cs typeface="Segoe UI" pitchFamily="34" charset="0"/>
              </a:endParaRPr>
            </a:p>
          </p:txBody>
        </p:sp>
        <p:sp>
          <p:nvSpPr>
            <p:cNvPr id="79" name="Freeform 836"/>
            <p:cNvSpPr>
              <a:spLocks noEditPoints="1"/>
            </p:cNvSpPr>
            <p:nvPr/>
          </p:nvSpPr>
          <p:spPr bwMode="auto">
            <a:xfrm>
              <a:off x="5918885" y="5601975"/>
              <a:ext cx="235096" cy="326787"/>
            </a:xfrm>
            <a:custGeom>
              <a:avLst/>
              <a:gdLst>
                <a:gd name="T0" fmla="*/ 1845 w 2151"/>
                <a:gd name="T1" fmla="*/ 3532 h 4079"/>
                <a:gd name="T2" fmla="*/ 1916 w 2151"/>
                <a:gd name="T3" fmla="*/ 3672 h 4079"/>
                <a:gd name="T4" fmla="*/ 305 w 2151"/>
                <a:gd name="T5" fmla="*/ 3290 h 4079"/>
                <a:gd name="T6" fmla="*/ 234 w 2151"/>
                <a:gd name="T7" fmla="*/ 3151 h 4079"/>
                <a:gd name="T8" fmla="*/ 234 w 2151"/>
                <a:gd name="T9" fmla="*/ 3151 h 4079"/>
                <a:gd name="T10" fmla="*/ 556 w 2151"/>
                <a:gd name="T11" fmla="*/ 2914 h 4079"/>
                <a:gd name="T12" fmla="*/ 628 w 2151"/>
                <a:gd name="T13" fmla="*/ 3053 h 4079"/>
                <a:gd name="T14" fmla="*/ 305 w 2151"/>
                <a:gd name="T15" fmla="*/ 954 h 4079"/>
                <a:gd name="T16" fmla="*/ 234 w 2151"/>
                <a:gd name="T17" fmla="*/ 745 h 4079"/>
                <a:gd name="T18" fmla="*/ 234 w 2151"/>
                <a:gd name="T19" fmla="*/ 745 h 4079"/>
                <a:gd name="T20" fmla="*/ 1845 w 2151"/>
                <a:gd name="T21" fmla="*/ 483 h 4079"/>
                <a:gd name="T22" fmla="*/ 1916 w 2151"/>
                <a:gd name="T23" fmla="*/ 694 h 4079"/>
                <a:gd name="T24" fmla="*/ 292 w 2151"/>
                <a:gd name="T25" fmla="*/ 74 h 4079"/>
                <a:gd name="T26" fmla="*/ 214 w 2151"/>
                <a:gd name="T27" fmla="*/ 90 h 4079"/>
                <a:gd name="T28" fmla="*/ 142 w 2151"/>
                <a:gd name="T29" fmla="*/ 132 h 4079"/>
                <a:gd name="T30" fmla="*/ 92 w 2151"/>
                <a:gd name="T31" fmla="*/ 197 h 4079"/>
                <a:gd name="T32" fmla="*/ 73 w 2151"/>
                <a:gd name="T33" fmla="*/ 259 h 4079"/>
                <a:gd name="T34" fmla="*/ 73 w 2151"/>
                <a:gd name="T35" fmla="*/ 3820 h 4079"/>
                <a:gd name="T36" fmla="*/ 102 w 2151"/>
                <a:gd name="T37" fmla="*/ 3902 h 4079"/>
                <a:gd name="T38" fmla="*/ 160 w 2151"/>
                <a:gd name="T39" fmla="*/ 3961 h 4079"/>
                <a:gd name="T40" fmla="*/ 238 w 2151"/>
                <a:gd name="T41" fmla="*/ 3997 h 4079"/>
                <a:gd name="T42" fmla="*/ 313 w 2151"/>
                <a:gd name="T43" fmla="*/ 4007 h 4079"/>
                <a:gd name="T44" fmla="*/ 1887 w 2151"/>
                <a:gd name="T45" fmla="*/ 4003 h 4079"/>
                <a:gd name="T46" fmla="*/ 1979 w 2151"/>
                <a:gd name="T47" fmla="*/ 3969 h 4079"/>
                <a:gd name="T48" fmla="*/ 2042 w 2151"/>
                <a:gd name="T49" fmla="*/ 3912 h 4079"/>
                <a:gd name="T50" fmla="*/ 2070 w 2151"/>
                <a:gd name="T51" fmla="*/ 3861 h 4079"/>
                <a:gd name="T52" fmla="*/ 2079 w 2151"/>
                <a:gd name="T53" fmla="*/ 3803 h 4079"/>
                <a:gd name="T54" fmla="*/ 2074 w 2151"/>
                <a:gd name="T55" fmla="*/ 236 h 4079"/>
                <a:gd name="T56" fmla="*/ 2049 w 2151"/>
                <a:gd name="T57" fmla="*/ 176 h 4079"/>
                <a:gd name="T58" fmla="*/ 1992 w 2151"/>
                <a:gd name="T59" fmla="*/ 118 h 4079"/>
                <a:gd name="T60" fmla="*/ 1914 w 2151"/>
                <a:gd name="T61" fmla="*/ 82 h 4079"/>
                <a:gd name="T62" fmla="*/ 1839 w 2151"/>
                <a:gd name="T63" fmla="*/ 72 h 4079"/>
                <a:gd name="T64" fmla="*/ 1867 w 2151"/>
                <a:gd name="T65" fmla="*/ 2 h 4079"/>
                <a:gd name="T66" fmla="*/ 1953 w 2151"/>
                <a:gd name="T67" fmla="*/ 20 h 4079"/>
                <a:gd name="T68" fmla="*/ 2029 w 2151"/>
                <a:gd name="T69" fmla="*/ 59 h 4079"/>
                <a:gd name="T70" fmla="*/ 2093 w 2151"/>
                <a:gd name="T71" fmla="*/ 117 h 4079"/>
                <a:gd name="T72" fmla="*/ 2136 w 2151"/>
                <a:gd name="T73" fmla="*/ 191 h 4079"/>
                <a:gd name="T74" fmla="*/ 2150 w 2151"/>
                <a:gd name="T75" fmla="*/ 252 h 4079"/>
                <a:gd name="T76" fmla="*/ 2149 w 2151"/>
                <a:gd name="T77" fmla="*/ 3835 h 4079"/>
                <a:gd name="T78" fmla="*/ 2126 w 2151"/>
                <a:gd name="T79" fmla="*/ 3911 h 4079"/>
                <a:gd name="T80" fmla="*/ 2077 w 2151"/>
                <a:gd name="T81" fmla="*/ 3981 h 4079"/>
                <a:gd name="T82" fmla="*/ 2008 w 2151"/>
                <a:gd name="T83" fmla="*/ 4034 h 4079"/>
                <a:gd name="T84" fmla="*/ 1929 w 2151"/>
                <a:gd name="T85" fmla="*/ 4068 h 4079"/>
                <a:gd name="T86" fmla="*/ 1839 w 2151"/>
                <a:gd name="T87" fmla="*/ 4079 h 4079"/>
                <a:gd name="T88" fmla="*/ 250 w 2151"/>
                <a:gd name="T89" fmla="*/ 4074 h 4079"/>
                <a:gd name="T90" fmla="*/ 167 w 2151"/>
                <a:gd name="T91" fmla="*/ 4047 h 4079"/>
                <a:gd name="T92" fmla="*/ 92 w 2151"/>
                <a:gd name="T93" fmla="*/ 3998 h 4079"/>
                <a:gd name="T94" fmla="*/ 36 w 2151"/>
                <a:gd name="T95" fmla="*/ 3932 h 4079"/>
                <a:gd name="T96" fmla="*/ 7 w 2151"/>
                <a:gd name="T97" fmla="*/ 3859 h 4079"/>
                <a:gd name="T98" fmla="*/ 0 w 2151"/>
                <a:gd name="T99" fmla="*/ 277 h 4079"/>
                <a:gd name="T100" fmla="*/ 14 w 2151"/>
                <a:gd name="T101" fmla="*/ 197 h 4079"/>
                <a:gd name="T102" fmla="*/ 45 w 2151"/>
                <a:gd name="T103" fmla="*/ 137 h 4079"/>
                <a:gd name="T104" fmla="*/ 112 w 2151"/>
                <a:gd name="T105" fmla="*/ 66 h 4079"/>
                <a:gd name="T106" fmla="*/ 191 w 2151"/>
                <a:gd name="T107" fmla="*/ 23 h 4079"/>
                <a:gd name="T108" fmla="*/ 277 w 2151"/>
                <a:gd name="T109" fmla="*/ 3 h 40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51" h="4079">
                  <a:moveTo>
                    <a:pt x="305" y="3532"/>
                  </a:moveTo>
                  <a:lnTo>
                    <a:pt x="305" y="3600"/>
                  </a:lnTo>
                  <a:lnTo>
                    <a:pt x="1845" y="3600"/>
                  </a:lnTo>
                  <a:lnTo>
                    <a:pt x="1845" y="3532"/>
                  </a:lnTo>
                  <a:lnTo>
                    <a:pt x="305" y="3532"/>
                  </a:lnTo>
                  <a:close/>
                  <a:moveTo>
                    <a:pt x="234" y="3460"/>
                  </a:moveTo>
                  <a:lnTo>
                    <a:pt x="1916" y="3460"/>
                  </a:lnTo>
                  <a:lnTo>
                    <a:pt x="1916" y="3672"/>
                  </a:lnTo>
                  <a:lnTo>
                    <a:pt x="234" y="3672"/>
                  </a:lnTo>
                  <a:lnTo>
                    <a:pt x="234" y="3460"/>
                  </a:lnTo>
                  <a:close/>
                  <a:moveTo>
                    <a:pt x="305" y="3223"/>
                  </a:moveTo>
                  <a:lnTo>
                    <a:pt x="305" y="3290"/>
                  </a:lnTo>
                  <a:lnTo>
                    <a:pt x="556" y="3290"/>
                  </a:lnTo>
                  <a:lnTo>
                    <a:pt x="556" y="3223"/>
                  </a:lnTo>
                  <a:lnTo>
                    <a:pt x="305" y="3223"/>
                  </a:lnTo>
                  <a:close/>
                  <a:moveTo>
                    <a:pt x="234" y="3151"/>
                  </a:moveTo>
                  <a:lnTo>
                    <a:pt x="628" y="3151"/>
                  </a:lnTo>
                  <a:lnTo>
                    <a:pt x="628" y="3362"/>
                  </a:lnTo>
                  <a:lnTo>
                    <a:pt x="234" y="3362"/>
                  </a:lnTo>
                  <a:lnTo>
                    <a:pt x="234" y="3151"/>
                  </a:lnTo>
                  <a:close/>
                  <a:moveTo>
                    <a:pt x="305" y="2914"/>
                  </a:moveTo>
                  <a:lnTo>
                    <a:pt x="305" y="2982"/>
                  </a:lnTo>
                  <a:lnTo>
                    <a:pt x="556" y="2982"/>
                  </a:lnTo>
                  <a:lnTo>
                    <a:pt x="556" y="2914"/>
                  </a:lnTo>
                  <a:lnTo>
                    <a:pt x="305" y="2914"/>
                  </a:lnTo>
                  <a:close/>
                  <a:moveTo>
                    <a:pt x="234" y="2842"/>
                  </a:moveTo>
                  <a:lnTo>
                    <a:pt x="628" y="2842"/>
                  </a:lnTo>
                  <a:lnTo>
                    <a:pt x="628" y="3053"/>
                  </a:lnTo>
                  <a:lnTo>
                    <a:pt x="234" y="3053"/>
                  </a:lnTo>
                  <a:lnTo>
                    <a:pt x="234" y="2842"/>
                  </a:lnTo>
                  <a:close/>
                  <a:moveTo>
                    <a:pt x="305" y="817"/>
                  </a:moveTo>
                  <a:lnTo>
                    <a:pt x="305" y="954"/>
                  </a:lnTo>
                  <a:lnTo>
                    <a:pt x="1845" y="954"/>
                  </a:lnTo>
                  <a:lnTo>
                    <a:pt x="1845" y="817"/>
                  </a:lnTo>
                  <a:lnTo>
                    <a:pt x="305" y="817"/>
                  </a:lnTo>
                  <a:close/>
                  <a:moveTo>
                    <a:pt x="234" y="745"/>
                  </a:moveTo>
                  <a:lnTo>
                    <a:pt x="1916" y="745"/>
                  </a:lnTo>
                  <a:lnTo>
                    <a:pt x="1916" y="1026"/>
                  </a:lnTo>
                  <a:lnTo>
                    <a:pt x="234" y="1026"/>
                  </a:lnTo>
                  <a:lnTo>
                    <a:pt x="234" y="745"/>
                  </a:lnTo>
                  <a:close/>
                  <a:moveTo>
                    <a:pt x="305" y="483"/>
                  </a:moveTo>
                  <a:lnTo>
                    <a:pt x="305" y="622"/>
                  </a:lnTo>
                  <a:lnTo>
                    <a:pt x="1845" y="622"/>
                  </a:lnTo>
                  <a:lnTo>
                    <a:pt x="1845" y="483"/>
                  </a:lnTo>
                  <a:lnTo>
                    <a:pt x="305" y="483"/>
                  </a:lnTo>
                  <a:close/>
                  <a:moveTo>
                    <a:pt x="234" y="412"/>
                  </a:moveTo>
                  <a:lnTo>
                    <a:pt x="1916" y="412"/>
                  </a:lnTo>
                  <a:lnTo>
                    <a:pt x="1916" y="694"/>
                  </a:lnTo>
                  <a:lnTo>
                    <a:pt x="234" y="694"/>
                  </a:lnTo>
                  <a:lnTo>
                    <a:pt x="234" y="412"/>
                  </a:lnTo>
                  <a:close/>
                  <a:moveTo>
                    <a:pt x="313" y="72"/>
                  </a:moveTo>
                  <a:lnTo>
                    <a:pt x="292" y="74"/>
                  </a:lnTo>
                  <a:lnTo>
                    <a:pt x="292" y="74"/>
                  </a:lnTo>
                  <a:lnTo>
                    <a:pt x="265" y="76"/>
                  </a:lnTo>
                  <a:lnTo>
                    <a:pt x="238" y="82"/>
                  </a:lnTo>
                  <a:lnTo>
                    <a:pt x="214" y="90"/>
                  </a:lnTo>
                  <a:lnTo>
                    <a:pt x="196" y="98"/>
                  </a:lnTo>
                  <a:lnTo>
                    <a:pt x="172" y="111"/>
                  </a:lnTo>
                  <a:lnTo>
                    <a:pt x="160" y="118"/>
                  </a:lnTo>
                  <a:lnTo>
                    <a:pt x="142" y="132"/>
                  </a:lnTo>
                  <a:lnTo>
                    <a:pt x="125" y="149"/>
                  </a:lnTo>
                  <a:lnTo>
                    <a:pt x="109" y="168"/>
                  </a:lnTo>
                  <a:lnTo>
                    <a:pt x="102" y="178"/>
                  </a:lnTo>
                  <a:lnTo>
                    <a:pt x="92" y="197"/>
                  </a:lnTo>
                  <a:lnTo>
                    <a:pt x="82" y="218"/>
                  </a:lnTo>
                  <a:lnTo>
                    <a:pt x="77" y="236"/>
                  </a:lnTo>
                  <a:lnTo>
                    <a:pt x="73" y="259"/>
                  </a:lnTo>
                  <a:lnTo>
                    <a:pt x="73" y="259"/>
                  </a:lnTo>
                  <a:lnTo>
                    <a:pt x="72" y="277"/>
                  </a:lnTo>
                  <a:lnTo>
                    <a:pt x="72" y="3803"/>
                  </a:lnTo>
                  <a:lnTo>
                    <a:pt x="73" y="3820"/>
                  </a:lnTo>
                  <a:lnTo>
                    <a:pt x="73" y="3820"/>
                  </a:lnTo>
                  <a:lnTo>
                    <a:pt x="77" y="3844"/>
                  </a:lnTo>
                  <a:lnTo>
                    <a:pt x="82" y="3861"/>
                  </a:lnTo>
                  <a:lnTo>
                    <a:pt x="92" y="3882"/>
                  </a:lnTo>
                  <a:lnTo>
                    <a:pt x="102" y="3902"/>
                  </a:lnTo>
                  <a:lnTo>
                    <a:pt x="109" y="3912"/>
                  </a:lnTo>
                  <a:lnTo>
                    <a:pt x="125" y="3930"/>
                  </a:lnTo>
                  <a:lnTo>
                    <a:pt x="142" y="3948"/>
                  </a:lnTo>
                  <a:lnTo>
                    <a:pt x="160" y="3961"/>
                  </a:lnTo>
                  <a:lnTo>
                    <a:pt x="172" y="3969"/>
                  </a:lnTo>
                  <a:lnTo>
                    <a:pt x="196" y="3981"/>
                  </a:lnTo>
                  <a:lnTo>
                    <a:pt x="214" y="3990"/>
                  </a:lnTo>
                  <a:lnTo>
                    <a:pt x="238" y="3997"/>
                  </a:lnTo>
                  <a:lnTo>
                    <a:pt x="265" y="4003"/>
                  </a:lnTo>
                  <a:lnTo>
                    <a:pt x="284" y="4006"/>
                  </a:lnTo>
                  <a:lnTo>
                    <a:pt x="284" y="4006"/>
                  </a:lnTo>
                  <a:lnTo>
                    <a:pt x="313" y="4007"/>
                  </a:lnTo>
                  <a:lnTo>
                    <a:pt x="1839" y="4007"/>
                  </a:lnTo>
                  <a:lnTo>
                    <a:pt x="1867" y="4006"/>
                  </a:lnTo>
                  <a:lnTo>
                    <a:pt x="1867" y="4006"/>
                  </a:lnTo>
                  <a:lnTo>
                    <a:pt x="1887" y="4003"/>
                  </a:lnTo>
                  <a:lnTo>
                    <a:pt x="1914" y="3997"/>
                  </a:lnTo>
                  <a:lnTo>
                    <a:pt x="1937" y="3990"/>
                  </a:lnTo>
                  <a:lnTo>
                    <a:pt x="1956" y="3981"/>
                  </a:lnTo>
                  <a:lnTo>
                    <a:pt x="1979" y="3969"/>
                  </a:lnTo>
                  <a:lnTo>
                    <a:pt x="1992" y="3961"/>
                  </a:lnTo>
                  <a:lnTo>
                    <a:pt x="2009" y="3948"/>
                  </a:lnTo>
                  <a:lnTo>
                    <a:pt x="2026" y="3930"/>
                  </a:lnTo>
                  <a:lnTo>
                    <a:pt x="2042" y="3912"/>
                  </a:lnTo>
                  <a:lnTo>
                    <a:pt x="2049" y="3903"/>
                  </a:lnTo>
                  <a:lnTo>
                    <a:pt x="2049" y="3903"/>
                  </a:lnTo>
                  <a:lnTo>
                    <a:pt x="2060" y="3882"/>
                  </a:lnTo>
                  <a:lnTo>
                    <a:pt x="2070" y="3861"/>
                  </a:lnTo>
                  <a:lnTo>
                    <a:pt x="2074" y="3844"/>
                  </a:lnTo>
                  <a:lnTo>
                    <a:pt x="2078" y="3820"/>
                  </a:lnTo>
                  <a:lnTo>
                    <a:pt x="2078" y="3820"/>
                  </a:lnTo>
                  <a:lnTo>
                    <a:pt x="2079" y="3803"/>
                  </a:lnTo>
                  <a:lnTo>
                    <a:pt x="2079" y="277"/>
                  </a:lnTo>
                  <a:lnTo>
                    <a:pt x="2078" y="259"/>
                  </a:lnTo>
                  <a:lnTo>
                    <a:pt x="2078" y="259"/>
                  </a:lnTo>
                  <a:lnTo>
                    <a:pt x="2074" y="236"/>
                  </a:lnTo>
                  <a:lnTo>
                    <a:pt x="2070" y="218"/>
                  </a:lnTo>
                  <a:lnTo>
                    <a:pt x="2060" y="197"/>
                  </a:lnTo>
                  <a:lnTo>
                    <a:pt x="2049" y="176"/>
                  </a:lnTo>
                  <a:lnTo>
                    <a:pt x="2049" y="176"/>
                  </a:lnTo>
                  <a:lnTo>
                    <a:pt x="2042" y="168"/>
                  </a:lnTo>
                  <a:lnTo>
                    <a:pt x="2026" y="149"/>
                  </a:lnTo>
                  <a:lnTo>
                    <a:pt x="2009" y="132"/>
                  </a:lnTo>
                  <a:lnTo>
                    <a:pt x="1992" y="118"/>
                  </a:lnTo>
                  <a:lnTo>
                    <a:pt x="1979" y="111"/>
                  </a:lnTo>
                  <a:lnTo>
                    <a:pt x="1956" y="98"/>
                  </a:lnTo>
                  <a:lnTo>
                    <a:pt x="1937" y="90"/>
                  </a:lnTo>
                  <a:lnTo>
                    <a:pt x="1914" y="82"/>
                  </a:lnTo>
                  <a:lnTo>
                    <a:pt x="1887" y="76"/>
                  </a:lnTo>
                  <a:lnTo>
                    <a:pt x="1860" y="74"/>
                  </a:lnTo>
                  <a:lnTo>
                    <a:pt x="1860" y="74"/>
                  </a:lnTo>
                  <a:lnTo>
                    <a:pt x="1839" y="72"/>
                  </a:lnTo>
                  <a:lnTo>
                    <a:pt x="313" y="72"/>
                  </a:lnTo>
                  <a:close/>
                  <a:moveTo>
                    <a:pt x="312" y="0"/>
                  </a:moveTo>
                  <a:lnTo>
                    <a:pt x="1840" y="0"/>
                  </a:lnTo>
                  <a:lnTo>
                    <a:pt x="1867" y="2"/>
                  </a:lnTo>
                  <a:lnTo>
                    <a:pt x="1874" y="3"/>
                  </a:lnTo>
                  <a:lnTo>
                    <a:pt x="1902" y="5"/>
                  </a:lnTo>
                  <a:lnTo>
                    <a:pt x="1929" y="12"/>
                  </a:lnTo>
                  <a:lnTo>
                    <a:pt x="1953" y="20"/>
                  </a:lnTo>
                  <a:lnTo>
                    <a:pt x="1961" y="23"/>
                  </a:lnTo>
                  <a:lnTo>
                    <a:pt x="1984" y="33"/>
                  </a:lnTo>
                  <a:lnTo>
                    <a:pt x="2008" y="45"/>
                  </a:lnTo>
                  <a:lnTo>
                    <a:pt x="2029" y="59"/>
                  </a:lnTo>
                  <a:lnTo>
                    <a:pt x="2040" y="66"/>
                  </a:lnTo>
                  <a:lnTo>
                    <a:pt x="2060" y="81"/>
                  </a:lnTo>
                  <a:lnTo>
                    <a:pt x="2077" y="98"/>
                  </a:lnTo>
                  <a:lnTo>
                    <a:pt x="2093" y="117"/>
                  </a:lnTo>
                  <a:lnTo>
                    <a:pt x="2108" y="137"/>
                  </a:lnTo>
                  <a:lnTo>
                    <a:pt x="2115" y="148"/>
                  </a:lnTo>
                  <a:lnTo>
                    <a:pt x="2126" y="169"/>
                  </a:lnTo>
                  <a:lnTo>
                    <a:pt x="2136" y="191"/>
                  </a:lnTo>
                  <a:lnTo>
                    <a:pt x="2137" y="197"/>
                  </a:lnTo>
                  <a:lnTo>
                    <a:pt x="2145" y="221"/>
                  </a:lnTo>
                  <a:lnTo>
                    <a:pt x="2149" y="244"/>
                  </a:lnTo>
                  <a:lnTo>
                    <a:pt x="2150" y="252"/>
                  </a:lnTo>
                  <a:lnTo>
                    <a:pt x="2151" y="274"/>
                  </a:lnTo>
                  <a:lnTo>
                    <a:pt x="2151" y="3805"/>
                  </a:lnTo>
                  <a:lnTo>
                    <a:pt x="2150" y="3828"/>
                  </a:lnTo>
                  <a:lnTo>
                    <a:pt x="2149" y="3835"/>
                  </a:lnTo>
                  <a:lnTo>
                    <a:pt x="2145" y="3859"/>
                  </a:lnTo>
                  <a:lnTo>
                    <a:pt x="2137" y="3882"/>
                  </a:lnTo>
                  <a:lnTo>
                    <a:pt x="2136" y="3888"/>
                  </a:lnTo>
                  <a:lnTo>
                    <a:pt x="2126" y="3911"/>
                  </a:lnTo>
                  <a:lnTo>
                    <a:pt x="2115" y="3932"/>
                  </a:lnTo>
                  <a:lnTo>
                    <a:pt x="2108" y="3943"/>
                  </a:lnTo>
                  <a:lnTo>
                    <a:pt x="2093" y="3963"/>
                  </a:lnTo>
                  <a:lnTo>
                    <a:pt x="2077" y="3981"/>
                  </a:lnTo>
                  <a:lnTo>
                    <a:pt x="2060" y="3998"/>
                  </a:lnTo>
                  <a:lnTo>
                    <a:pt x="2040" y="4013"/>
                  </a:lnTo>
                  <a:lnTo>
                    <a:pt x="2029" y="4021"/>
                  </a:lnTo>
                  <a:lnTo>
                    <a:pt x="2008" y="4034"/>
                  </a:lnTo>
                  <a:lnTo>
                    <a:pt x="1984" y="4047"/>
                  </a:lnTo>
                  <a:lnTo>
                    <a:pt x="1961" y="4057"/>
                  </a:lnTo>
                  <a:lnTo>
                    <a:pt x="1953" y="4059"/>
                  </a:lnTo>
                  <a:lnTo>
                    <a:pt x="1929" y="4068"/>
                  </a:lnTo>
                  <a:lnTo>
                    <a:pt x="1902" y="4074"/>
                  </a:lnTo>
                  <a:lnTo>
                    <a:pt x="1874" y="4078"/>
                  </a:lnTo>
                  <a:lnTo>
                    <a:pt x="1867" y="4078"/>
                  </a:lnTo>
                  <a:lnTo>
                    <a:pt x="1839" y="4079"/>
                  </a:lnTo>
                  <a:lnTo>
                    <a:pt x="313" y="4079"/>
                  </a:lnTo>
                  <a:lnTo>
                    <a:pt x="284" y="4078"/>
                  </a:lnTo>
                  <a:lnTo>
                    <a:pt x="277" y="4078"/>
                  </a:lnTo>
                  <a:lnTo>
                    <a:pt x="250" y="4074"/>
                  </a:lnTo>
                  <a:lnTo>
                    <a:pt x="223" y="4068"/>
                  </a:lnTo>
                  <a:lnTo>
                    <a:pt x="198" y="4059"/>
                  </a:lnTo>
                  <a:lnTo>
                    <a:pt x="191" y="4057"/>
                  </a:lnTo>
                  <a:lnTo>
                    <a:pt x="167" y="4047"/>
                  </a:lnTo>
                  <a:lnTo>
                    <a:pt x="144" y="4034"/>
                  </a:lnTo>
                  <a:lnTo>
                    <a:pt x="123" y="4021"/>
                  </a:lnTo>
                  <a:lnTo>
                    <a:pt x="112" y="4013"/>
                  </a:lnTo>
                  <a:lnTo>
                    <a:pt x="92" y="3998"/>
                  </a:lnTo>
                  <a:lnTo>
                    <a:pt x="75" y="3981"/>
                  </a:lnTo>
                  <a:lnTo>
                    <a:pt x="59" y="3963"/>
                  </a:lnTo>
                  <a:lnTo>
                    <a:pt x="45" y="3943"/>
                  </a:lnTo>
                  <a:lnTo>
                    <a:pt x="36" y="3932"/>
                  </a:lnTo>
                  <a:lnTo>
                    <a:pt x="25" y="3911"/>
                  </a:lnTo>
                  <a:lnTo>
                    <a:pt x="15" y="3888"/>
                  </a:lnTo>
                  <a:lnTo>
                    <a:pt x="14" y="3882"/>
                  </a:lnTo>
                  <a:lnTo>
                    <a:pt x="7" y="3859"/>
                  </a:lnTo>
                  <a:lnTo>
                    <a:pt x="3" y="3835"/>
                  </a:lnTo>
                  <a:lnTo>
                    <a:pt x="2" y="3828"/>
                  </a:lnTo>
                  <a:lnTo>
                    <a:pt x="0" y="3803"/>
                  </a:lnTo>
                  <a:lnTo>
                    <a:pt x="0" y="277"/>
                  </a:lnTo>
                  <a:lnTo>
                    <a:pt x="2" y="252"/>
                  </a:lnTo>
                  <a:lnTo>
                    <a:pt x="3" y="244"/>
                  </a:lnTo>
                  <a:lnTo>
                    <a:pt x="7" y="221"/>
                  </a:lnTo>
                  <a:lnTo>
                    <a:pt x="14" y="197"/>
                  </a:lnTo>
                  <a:lnTo>
                    <a:pt x="15" y="191"/>
                  </a:lnTo>
                  <a:lnTo>
                    <a:pt x="25" y="169"/>
                  </a:lnTo>
                  <a:lnTo>
                    <a:pt x="36" y="148"/>
                  </a:lnTo>
                  <a:lnTo>
                    <a:pt x="45" y="137"/>
                  </a:lnTo>
                  <a:lnTo>
                    <a:pt x="59" y="117"/>
                  </a:lnTo>
                  <a:lnTo>
                    <a:pt x="75" y="98"/>
                  </a:lnTo>
                  <a:lnTo>
                    <a:pt x="92" y="81"/>
                  </a:lnTo>
                  <a:lnTo>
                    <a:pt x="112" y="66"/>
                  </a:lnTo>
                  <a:lnTo>
                    <a:pt x="123" y="59"/>
                  </a:lnTo>
                  <a:lnTo>
                    <a:pt x="144" y="45"/>
                  </a:lnTo>
                  <a:lnTo>
                    <a:pt x="167" y="33"/>
                  </a:lnTo>
                  <a:lnTo>
                    <a:pt x="191" y="23"/>
                  </a:lnTo>
                  <a:lnTo>
                    <a:pt x="198" y="20"/>
                  </a:lnTo>
                  <a:lnTo>
                    <a:pt x="223" y="12"/>
                  </a:lnTo>
                  <a:lnTo>
                    <a:pt x="250" y="5"/>
                  </a:lnTo>
                  <a:lnTo>
                    <a:pt x="277" y="3"/>
                  </a:lnTo>
                  <a:lnTo>
                    <a:pt x="284" y="2"/>
                  </a:lnTo>
                  <a:lnTo>
                    <a:pt x="312" y="0"/>
                  </a:lnTo>
                  <a:close/>
                </a:path>
              </a:pathLst>
            </a:custGeom>
            <a:solidFill>
              <a:schemeClr val="tx1"/>
            </a:solidFill>
            <a:ln w="0">
              <a:noFill/>
              <a:prstDash val="solid"/>
              <a:round/>
              <a:headEnd/>
              <a:tailEnd/>
            </a:ln>
          </p:spPr>
          <p:txBody>
            <a:bodyPr vert="horz" wrap="square" lIns="69935" tIns="34968" rIns="69935" bIns="34968" numCol="1" anchor="t" anchorCtr="0" compatLnSpc="1">
              <a:prstTxWarp prst="textNoShape">
                <a:avLst/>
              </a:prstTxWarp>
            </a:bodyPr>
            <a:lstStyle/>
            <a:p>
              <a:pPr defTabSz="713414">
                <a:defRPr/>
              </a:pPr>
              <a:endParaRPr lang="en-GB" kern="0">
                <a:solidFill>
                  <a:srgbClr val="0078D7">
                    <a:lumMod val="75000"/>
                  </a:srgbClr>
                </a:solidFill>
              </a:endParaRPr>
            </a:p>
          </p:txBody>
        </p:sp>
        <p:sp>
          <p:nvSpPr>
            <p:cNvPr id="86" name="Rounded Rectangle 85"/>
            <p:cNvSpPr/>
            <p:nvPr/>
          </p:nvSpPr>
          <p:spPr bwMode="auto">
            <a:xfrm>
              <a:off x="6315360" y="5621882"/>
              <a:ext cx="194867" cy="309811"/>
            </a:xfrm>
            <a:prstGeom prst="roundRect">
              <a:avLst>
                <a:gd name="adj" fmla="val 11805"/>
              </a:avLst>
            </a:prstGeom>
            <a:solidFill>
              <a:srgbClr val="0071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70" tIns="34285" rIns="34285" bIns="68570" numCol="1" spcCol="0" rtlCol="0" fromWordArt="0" anchor="b" anchorCtr="0" forceAA="0" compatLnSpc="1">
              <a:prstTxWarp prst="textNoShape">
                <a:avLst/>
              </a:prstTxWarp>
              <a:noAutofit/>
            </a:bodyPr>
            <a:lstStyle/>
            <a:p>
              <a:pPr algn="ctr" defTabSz="685513" fontAlgn="base">
                <a:spcBef>
                  <a:spcPct val="0"/>
                </a:spcBef>
                <a:spcAft>
                  <a:spcPct val="0"/>
                </a:spcAft>
              </a:pPr>
              <a:endParaRPr lang="en-US" spc="-38" dirty="0">
                <a:solidFill>
                  <a:srgbClr val="0078D7">
                    <a:lumMod val="75000"/>
                  </a:srgbClr>
                </a:solidFill>
                <a:ea typeface="Segoe UI" pitchFamily="34" charset="0"/>
                <a:cs typeface="Segoe UI" pitchFamily="34" charset="0"/>
              </a:endParaRPr>
            </a:p>
          </p:txBody>
        </p:sp>
        <p:sp>
          <p:nvSpPr>
            <p:cNvPr id="87" name="Freeform 836"/>
            <p:cNvSpPr>
              <a:spLocks noEditPoints="1"/>
            </p:cNvSpPr>
            <p:nvPr/>
          </p:nvSpPr>
          <p:spPr bwMode="auto">
            <a:xfrm>
              <a:off x="6314626" y="5622131"/>
              <a:ext cx="191930" cy="306631"/>
            </a:xfrm>
            <a:custGeom>
              <a:avLst/>
              <a:gdLst>
                <a:gd name="T0" fmla="*/ 1845 w 2151"/>
                <a:gd name="T1" fmla="*/ 3532 h 4079"/>
                <a:gd name="T2" fmla="*/ 1916 w 2151"/>
                <a:gd name="T3" fmla="*/ 3672 h 4079"/>
                <a:gd name="T4" fmla="*/ 305 w 2151"/>
                <a:gd name="T5" fmla="*/ 3290 h 4079"/>
                <a:gd name="T6" fmla="*/ 234 w 2151"/>
                <a:gd name="T7" fmla="*/ 3151 h 4079"/>
                <a:gd name="T8" fmla="*/ 234 w 2151"/>
                <a:gd name="T9" fmla="*/ 3151 h 4079"/>
                <a:gd name="T10" fmla="*/ 556 w 2151"/>
                <a:gd name="T11" fmla="*/ 2914 h 4079"/>
                <a:gd name="T12" fmla="*/ 628 w 2151"/>
                <a:gd name="T13" fmla="*/ 3053 h 4079"/>
                <a:gd name="T14" fmla="*/ 305 w 2151"/>
                <a:gd name="T15" fmla="*/ 954 h 4079"/>
                <a:gd name="T16" fmla="*/ 234 w 2151"/>
                <a:gd name="T17" fmla="*/ 745 h 4079"/>
                <a:gd name="T18" fmla="*/ 234 w 2151"/>
                <a:gd name="T19" fmla="*/ 745 h 4079"/>
                <a:gd name="T20" fmla="*/ 1845 w 2151"/>
                <a:gd name="T21" fmla="*/ 483 h 4079"/>
                <a:gd name="T22" fmla="*/ 1916 w 2151"/>
                <a:gd name="T23" fmla="*/ 694 h 4079"/>
                <a:gd name="T24" fmla="*/ 292 w 2151"/>
                <a:gd name="T25" fmla="*/ 74 h 4079"/>
                <a:gd name="T26" fmla="*/ 214 w 2151"/>
                <a:gd name="T27" fmla="*/ 90 h 4079"/>
                <a:gd name="T28" fmla="*/ 142 w 2151"/>
                <a:gd name="T29" fmla="*/ 132 h 4079"/>
                <a:gd name="T30" fmla="*/ 92 w 2151"/>
                <a:gd name="T31" fmla="*/ 197 h 4079"/>
                <a:gd name="T32" fmla="*/ 73 w 2151"/>
                <a:gd name="T33" fmla="*/ 259 h 4079"/>
                <a:gd name="T34" fmla="*/ 73 w 2151"/>
                <a:gd name="T35" fmla="*/ 3820 h 4079"/>
                <a:gd name="T36" fmla="*/ 102 w 2151"/>
                <a:gd name="T37" fmla="*/ 3902 h 4079"/>
                <a:gd name="T38" fmla="*/ 160 w 2151"/>
                <a:gd name="T39" fmla="*/ 3961 h 4079"/>
                <a:gd name="T40" fmla="*/ 238 w 2151"/>
                <a:gd name="T41" fmla="*/ 3997 h 4079"/>
                <a:gd name="T42" fmla="*/ 313 w 2151"/>
                <a:gd name="T43" fmla="*/ 4007 h 4079"/>
                <a:gd name="T44" fmla="*/ 1887 w 2151"/>
                <a:gd name="T45" fmla="*/ 4003 h 4079"/>
                <a:gd name="T46" fmla="*/ 1979 w 2151"/>
                <a:gd name="T47" fmla="*/ 3969 h 4079"/>
                <a:gd name="T48" fmla="*/ 2042 w 2151"/>
                <a:gd name="T49" fmla="*/ 3912 h 4079"/>
                <a:gd name="T50" fmla="*/ 2070 w 2151"/>
                <a:gd name="T51" fmla="*/ 3861 h 4079"/>
                <a:gd name="T52" fmla="*/ 2079 w 2151"/>
                <a:gd name="T53" fmla="*/ 3803 h 4079"/>
                <a:gd name="T54" fmla="*/ 2074 w 2151"/>
                <a:gd name="T55" fmla="*/ 236 h 4079"/>
                <a:gd name="T56" fmla="*/ 2049 w 2151"/>
                <a:gd name="T57" fmla="*/ 176 h 4079"/>
                <a:gd name="T58" fmla="*/ 1992 w 2151"/>
                <a:gd name="T59" fmla="*/ 118 h 4079"/>
                <a:gd name="T60" fmla="*/ 1914 w 2151"/>
                <a:gd name="T61" fmla="*/ 82 h 4079"/>
                <a:gd name="T62" fmla="*/ 1839 w 2151"/>
                <a:gd name="T63" fmla="*/ 72 h 4079"/>
                <a:gd name="T64" fmla="*/ 1867 w 2151"/>
                <a:gd name="T65" fmla="*/ 2 h 4079"/>
                <a:gd name="T66" fmla="*/ 1953 w 2151"/>
                <a:gd name="T67" fmla="*/ 20 h 4079"/>
                <a:gd name="T68" fmla="*/ 2029 w 2151"/>
                <a:gd name="T69" fmla="*/ 59 h 4079"/>
                <a:gd name="T70" fmla="*/ 2093 w 2151"/>
                <a:gd name="T71" fmla="*/ 117 h 4079"/>
                <a:gd name="T72" fmla="*/ 2136 w 2151"/>
                <a:gd name="T73" fmla="*/ 191 h 4079"/>
                <a:gd name="T74" fmla="*/ 2150 w 2151"/>
                <a:gd name="T75" fmla="*/ 252 h 4079"/>
                <a:gd name="T76" fmla="*/ 2149 w 2151"/>
                <a:gd name="T77" fmla="*/ 3835 h 4079"/>
                <a:gd name="T78" fmla="*/ 2126 w 2151"/>
                <a:gd name="T79" fmla="*/ 3911 h 4079"/>
                <a:gd name="T80" fmla="*/ 2077 w 2151"/>
                <a:gd name="T81" fmla="*/ 3981 h 4079"/>
                <a:gd name="T82" fmla="*/ 2008 w 2151"/>
                <a:gd name="T83" fmla="*/ 4034 h 4079"/>
                <a:gd name="T84" fmla="*/ 1929 w 2151"/>
                <a:gd name="T85" fmla="*/ 4068 h 4079"/>
                <a:gd name="T86" fmla="*/ 1839 w 2151"/>
                <a:gd name="T87" fmla="*/ 4079 h 4079"/>
                <a:gd name="T88" fmla="*/ 250 w 2151"/>
                <a:gd name="T89" fmla="*/ 4074 h 4079"/>
                <a:gd name="T90" fmla="*/ 167 w 2151"/>
                <a:gd name="T91" fmla="*/ 4047 h 4079"/>
                <a:gd name="T92" fmla="*/ 92 w 2151"/>
                <a:gd name="T93" fmla="*/ 3998 h 4079"/>
                <a:gd name="T94" fmla="*/ 36 w 2151"/>
                <a:gd name="T95" fmla="*/ 3932 h 4079"/>
                <a:gd name="T96" fmla="*/ 7 w 2151"/>
                <a:gd name="T97" fmla="*/ 3859 h 4079"/>
                <a:gd name="T98" fmla="*/ 0 w 2151"/>
                <a:gd name="T99" fmla="*/ 277 h 4079"/>
                <a:gd name="T100" fmla="*/ 14 w 2151"/>
                <a:gd name="T101" fmla="*/ 197 h 4079"/>
                <a:gd name="T102" fmla="*/ 45 w 2151"/>
                <a:gd name="T103" fmla="*/ 137 h 4079"/>
                <a:gd name="T104" fmla="*/ 112 w 2151"/>
                <a:gd name="T105" fmla="*/ 66 h 4079"/>
                <a:gd name="T106" fmla="*/ 191 w 2151"/>
                <a:gd name="T107" fmla="*/ 23 h 4079"/>
                <a:gd name="T108" fmla="*/ 277 w 2151"/>
                <a:gd name="T109" fmla="*/ 3 h 40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51" h="4079">
                  <a:moveTo>
                    <a:pt x="305" y="3532"/>
                  </a:moveTo>
                  <a:lnTo>
                    <a:pt x="305" y="3600"/>
                  </a:lnTo>
                  <a:lnTo>
                    <a:pt x="1845" y="3600"/>
                  </a:lnTo>
                  <a:lnTo>
                    <a:pt x="1845" y="3532"/>
                  </a:lnTo>
                  <a:lnTo>
                    <a:pt x="305" y="3532"/>
                  </a:lnTo>
                  <a:close/>
                  <a:moveTo>
                    <a:pt x="234" y="3460"/>
                  </a:moveTo>
                  <a:lnTo>
                    <a:pt x="1916" y="3460"/>
                  </a:lnTo>
                  <a:lnTo>
                    <a:pt x="1916" y="3672"/>
                  </a:lnTo>
                  <a:lnTo>
                    <a:pt x="234" y="3672"/>
                  </a:lnTo>
                  <a:lnTo>
                    <a:pt x="234" y="3460"/>
                  </a:lnTo>
                  <a:close/>
                  <a:moveTo>
                    <a:pt x="305" y="3223"/>
                  </a:moveTo>
                  <a:lnTo>
                    <a:pt x="305" y="3290"/>
                  </a:lnTo>
                  <a:lnTo>
                    <a:pt x="556" y="3290"/>
                  </a:lnTo>
                  <a:lnTo>
                    <a:pt x="556" y="3223"/>
                  </a:lnTo>
                  <a:lnTo>
                    <a:pt x="305" y="3223"/>
                  </a:lnTo>
                  <a:close/>
                  <a:moveTo>
                    <a:pt x="234" y="3151"/>
                  </a:moveTo>
                  <a:lnTo>
                    <a:pt x="628" y="3151"/>
                  </a:lnTo>
                  <a:lnTo>
                    <a:pt x="628" y="3362"/>
                  </a:lnTo>
                  <a:lnTo>
                    <a:pt x="234" y="3362"/>
                  </a:lnTo>
                  <a:lnTo>
                    <a:pt x="234" y="3151"/>
                  </a:lnTo>
                  <a:close/>
                  <a:moveTo>
                    <a:pt x="305" y="2914"/>
                  </a:moveTo>
                  <a:lnTo>
                    <a:pt x="305" y="2982"/>
                  </a:lnTo>
                  <a:lnTo>
                    <a:pt x="556" y="2982"/>
                  </a:lnTo>
                  <a:lnTo>
                    <a:pt x="556" y="2914"/>
                  </a:lnTo>
                  <a:lnTo>
                    <a:pt x="305" y="2914"/>
                  </a:lnTo>
                  <a:close/>
                  <a:moveTo>
                    <a:pt x="234" y="2842"/>
                  </a:moveTo>
                  <a:lnTo>
                    <a:pt x="628" y="2842"/>
                  </a:lnTo>
                  <a:lnTo>
                    <a:pt x="628" y="3053"/>
                  </a:lnTo>
                  <a:lnTo>
                    <a:pt x="234" y="3053"/>
                  </a:lnTo>
                  <a:lnTo>
                    <a:pt x="234" y="2842"/>
                  </a:lnTo>
                  <a:close/>
                  <a:moveTo>
                    <a:pt x="305" y="817"/>
                  </a:moveTo>
                  <a:lnTo>
                    <a:pt x="305" y="954"/>
                  </a:lnTo>
                  <a:lnTo>
                    <a:pt x="1845" y="954"/>
                  </a:lnTo>
                  <a:lnTo>
                    <a:pt x="1845" y="817"/>
                  </a:lnTo>
                  <a:lnTo>
                    <a:pt x="305" y="817"/>
                  </a:lnTo>
                  <a:close/>
                  <a:moveTo>
                    <a:pt x="234" y="745"/>
                  </a:moveTo>
                  <a:lnTo>
                    <a:pt x="1916" y="745"/>
                  </a:lnTo>
                  <a:lnTo>
                    <a:pt x="1916" y="1026"/>
                  </a:lnTo>
                  <a:lnTo>
                    <a:pt x="234" y="1026"/>
                  </a:lnTo>
                  <a:lnTo>
                    <a:pt x="234" y="745"/>
                  </a:lnTo>
                  <a:close/>
                  <a:moveTo>
                    <a:pt x="305" y="483"/>
                  </a:moveTo>
                  <a:lnTo>
                    <a:pt x="305" y="622"/>
                  </a:lnTo>
                  <a:lnTo>
                    <a:pt x="1845" y="622"/>
                  </a:lnTo>
                  <a:lnTo>
                    <a:pt x="1845" y="483"/>
                  </a:lnTo>
                  <a:lnTo>
                    <a:pt x="305" y="483"/>
                  </a:lnTo>
                  <a:close/>
                  <a:moveTo>
                    <a:pt x="234" y="412"/>
                  </a:moveTo>
                  <a:lnTo>
                    <a:pt x="1916" y="412"/>
                  </a:lnTo>
                  <a:lnTo>
                    <a:pt x="1916" y="694"/>
                  </a:lnTo>
                  <a:lnTo>
                    <a:pt x="234" y="694"/>
                  </a:lnTo>
                  <a:lnTo>
                    <a:pt x="234" y="412"/>
                  </a:lnTo>
                  <a:close/>
                  <a:moveTo>
                    <a:pt x="313" y="72"/>
                  </a:moveTo>
                  <a:lnTo>
                    <a:pt x="292" y="74"/>
                  </a:lnTo>
                  <a:lnTo>
                    <a:pt x="292" y="74"/>
                  </a:lnTo>
                  <a:lnTo>
                    <a:pt x="265" y="76"/>
                  </a:lnTo>
                  <a:lnTo>
                    <a:pt x="238" y="82"/>
                  </a:lnTo>
                  <a:lnTo>
                    <a:pt x="214" y="90"/>
                  </a:lnTo>
                  <a:lnTo>
                    <a:pt x="196" y="98"/>
                  </a:lnTo>
                  <a:lnTo>
                    <a:pt x="172" y="111"/>
                  </a:lnTo>
                  <a:lnTo>
                    <a:pt x="160" y="118"/>
                  </a:lnTo>
                  <a:lnTo>
                    <a:pt x="142" y="132"/>
                  </a:lnTo>
                  <a:lnTo>
                    <a:pt x="125" y="149"/>
                  </a:lnTo>
                  <a:lnTo>
                    <a:pt x="109" y="168"/>
                  </a:lnTo>
                  <a:lnTo>
                    <a:pt x="102" y="178"/>
                  </a:lnTo>
                  <a:lnTo>
                    <a:pt x="92" y="197"/>
                  </a:lnTo>
                  <a:lnTo>
                    <a:pt x="82" y="218"/>
                  </a:lnTo>
                  <a:lnTo>
                    <a:pt x="77" y="236"/>
                  </a:lnTo>
                  <a:lnTo>
                    <a:pt x="73" y="259"/>
                  </a:lnTo>
                  <a:lnTo>
                    <a:pt x="73" y="259"/>
                  </a:lnTo>
                  <a:lnTo>
                    <a:pt x="72" y="277"/>
                  </a:lnTo>
                  <a:lnTo>
                    <a:pt x="72" y="3803"/>
                  </a:lnTo>
                  <a:lnTo>
                    <a:pt x="73" y="3820"/>
                  </a:lnTo>
                  <a:lnTo>
                    <a:pt x="73" y="3820"/>
                  </a:lnTo>
                  <a:lnTo>
                    <a:pt x="77" y="3844"/>
                  </a:lnTo>
                  <a:lnTo>
                    <a:pt x="82" y="3861"/>
                  </a:lnTo>
                  <a:lnTo>
                    <a:pt x="92" y="3882"/>
                  </a:lnTo>
                  <a:lnTo>
                    <a:pt x="102" y="3902"/>
                  </a:lnTo>
                  <a:lnTo>
                    <a:pt x="109" y="3912"/>
                  </a:lnTo>
                  <a:lnTo>
                    <a:pt x="125" y="3930"/>
                  </a:lnTo>
                  <a:lnTo>
                    <a:pt x="142" y="3948"/>
                  </a:lnTo>
                  <a:lnTo>
                    <a:pt x="160" y="3961"/>
                  </a:lnTo>
                  <a:lnTo>
                    <a:pt x="172" y="3969"/>
                  </a:lnTo>
                  <a:lnTo>
                    <a:pt x="196" y="3981"/>
                  </a:lnTo>
                  <a:lnTo>
                    <a:pt x="214" y="3990"/>
                  </a:lnTo>
                  <a:lnTo>
                    <a:pt x="238" y="3997"/>
                  </a:lnTo>
                  <a:lnTo>
                    <a:pt x="265" y="4003"/>
                  </a:lnTo>
                  <a:lnTo>
                    <a:pt x="284" y="4006"/>
                  </a:lnTo>
                  <a:lnTo>
                    <a:pt x="284" y="4006"/>
                  </a:lnTo>
                  <a:lnTo>
                    <a:pt x="313" y="4007"/>
                  </a:lnTo>
                  <a:lnTo>
                    <a:pt x="1839" y="4007"/>
                  </a:lnTo>
                  <a:lnTo>
                    <a:pt x="1867" y="4006"/>
                  </a:lnTo>
                  <a:lnTo>
                    <a:pt x="1867" y="4006"/>
                  </a:lnTo>
                  <a:lnTo>
                    <a:pt x="1887" y="4003"/>
                  </a:lnTo>
                  <a:lnTo>
                    <a:pt x="1914" y="3997"/>
                  </a:lnTo>
                  <a:lnTo>
                    <a:pt x="1937" y="3990"/>
                  </a:lnTo>
                  <a:lnTo>
                    <a:pt x="1956" y="3981"/>
                  </a:lnTo>
                  <a:lnTo>
                    <a:pt x="1979" y="3969"/>
                  </a:lnTo>
                  <a:lnTo>
                    <a:pt x="1992" y="3961"/>
                  </a:lnTo>
                  <a:lnTo>
                    <a:pt x="2009" y="3948"/>
                  </a:lnTo>
                  <a:lnTo>
                    <a:pt x="2026" y="3930"/>
                  </a:lnTo>
                  <a:lnTo>
                    <a:pt x="2042" y="3912"/>
                  </a:lnTo>
                  <a:lnTo>
                    <a:pt x="2049" y="3903"/>
                  </a:lnTo>
                  <a:lnTo>
                    <a:pt x="2049" y="3903"/>
                  </a:lnTo>
                  <a:lnTo>
                    <a:pt x="2060" y="3882"/>
                  </a:lnTo>
                  <a:lnTo>
                    <a:pt x="2070" y="3861"/>
                  </a:lnTo>
                  <a:lnTo>
                    <a:pt x="2074" y="3844"/>
                  </a:lnTo>
                  <a:lnTo>
                    <a:pt x="2078" y="3820"/>
                  </a:lnTo>
                  <a:lnTo>
                    <a:pt x="2078" y="3820"/>
                  </a:lnTo>
                  <a:lnTo>
                    <a:pt x="2079" y="3803"/>
                  </a:lnTo>
                  <a:lnTo>
                    <a:pt x="2079" y="277"/>
                  </a:lnTo>
                  <a:lnTo>
                    <a:pt x="2078" y="259"/>
                  </a:lnTo>
                  <a:lnTo>
                    <a:pt x="2078" y="259"/>
                  </a:lnTo>
                  <a:lnTo>
                    <a:pt x="2074" y="236"/>
                  </a:lnTo>
                  <a:lnTo>
                    <a:pt x="2070" y="218"/>
                  </a:lnTo>
                  <a:lnTo>
                    <a:pt x="2060" y="197"/>
                  </a:lnTo>
                  <a:lnTo>
                    <a:pt x="2049" y="176"/>
                  </a:lnTo>
                  <a:lnTo>
                    <a:pt x="2049" y="176"/>
                  </a:lnTo>
                  <a:lnTo>
                    <a:pt x="2042" y="168"/>
                  </a:lnTo>
                  <a:lnTo>
                    <a:pt x="2026" y="149"/>
                  </a:lnTo>
                  <a:lnTo>
                    <a:pt x="2009" y="132"/>
                  </a:lnTo>
                  <a:lnTo>
                    <a:pt x="1992" y="118"/>
                  </a:lnTo>
                  <a:lnTo>
                    <a:pt x="1979" y="111"/>
                  </a:lnTo>
                  <a:lnTo>
                    <a:pt x="1956" y="98"/>
                  </a:lnTo>
                  <a:lnTo>
                    <a:pt x="1937" y="90"/>
                  </a:lnTo>
                  <a:lnTo>
                    <a:pt x="1914" y="82"/>
                  </a:lnTo>
                  <a:lnTo>
                    <a:pt x="1887" y="76"/>
                  </a:lnTo>
                  <a:lnTo>
                    <a:pt x="1860" y="74"/>
                  </a:lnTo>
                  <a:lnTo>
                    <a:pt x="1860" y="74"/>
                  </a:lnTo>
                  <a:lnTo>
                    <a:pt x="1839" y="72"/>
                  </a:lnTo>
                  <a:lnTo>
                    <a:pt x="313" y="72"/>
                  </a:lnTo>
                  <a:close/>
                  <a:moveTo>
                    <a:pt x="312" y="0"/>
                  </a:moveTo>
                  <a:lnTo>
                    <a:pt x="1840" y="0"/>
                  </a:lnTo>
                  <a:lnTo>
                    <a:pt x="1867" y="2"/>
                  </a:lnTo>
                  <a:lnTo>
                    <a:pt x="1874" y="3"/>
                  </a:lnTo>
                  <a:lnTo>
                    <a:pt x="1902" y="5"/>
                  </a:lnTo>
                  <a:lnTo>
                    <a:pt x="1929" y="12"/>
                  </a:lnTo>
                  <a:lnTo>
                    <a:pt x="1953" y="20"/>
                  </a:lnTo>
                  <a:lnTo>
                    <a:pt x="1961" y="23"/>
                  </a:lnTo>
                  <a:lnTo>
                    <a:pt x="1984" y="33"/>
                  </a:lnTo>
                  <a:lnTo>
                    <a:pt x="2008" y="45"/>
                  </a:lnTo>
                  <a:lnTo>
                    <a:pt x="2029" y="59"/>
                  </a:lnTo>
                  <a:lnTo>
                    <a:pt x="2040" y="66"/>
                  </a:lnTo>
                  <a:lnTo>
                    <a:pt x="2060" y="81"/>
                  </a:lnTo>
                  <a:lnTo>
                    <a:pt x="2077" y="98"/>
                  </a:lnTo>
                  <a:lnTo>
                    <a:pt x="2093" y="117"/>
                  </a:lnTo>
                  <a:lnTo>
                    <a:pt x="2108" y="137"/>
                  </a:lnTo>
                  <a:lnTo>
                    <a:pt x="2115" y="148"/>
                  </a:lnTo>
                  <a:lnTo>
                    <a:pt x="2126" y="169"/>
                  </a:lnTo>
                  <a:lnTo>
                    <a:pt x="2136" y="191"/>
                  </a:lnTo>
                  <a:lnTo>
                    <a:pt x="2137" y="197"/>
                  </a:lnTo>
                  <a:lnTo>
                    <a:pt x="2145" y="221"/>
                  </a:lnTo>
                  <a:lnTo>
                    <a:pt x="2149" y="244"/>
                  </a:lnTo>
                  <a:lnTo>
                    <a:pt x="2150" y="252"/>
                  </a:lnTo>
                  <a:lnTo>
                    <a:pt x="2151" y="274"/>
                  </a:lnTo>
                  <a:lnTo>
                    <a:pt x="2151" y="3805"/>
                  </a:lnTo>
                  <a:lnTo>
                    <a:pt x="2150" y="3828"/>
                  </a:lnTo>
                  <a:lnTo>
                    <a:pt x="2149" y="3835"/>
                  </a:lnTo>
                  <a:lnTo>
                    <a:pt x="2145" y="3859"/>
                  </a:lnTo>
                  <a:lnTo>
                    <a:pt x="2137" y="3882"/>
                  </a:lnTo>
                  <a:lnTo>
                    <a:pt x="2136" y="3888"/>
                  </a:lnTo>
                  <a:lnTo>
                    <a:pt x="2126" y="3911"/>
                  </a:lnTo>
                  <a:lnTo>
                    <a:pt x="2115" y="3932"/>
                  </a:lnTo>
                  <a:lnTo>
                    <a:pt x="2108" y="3943"/>
                  </a:lnTo>
                  <a:lnTo>
                    <a:pt x="2093" y="3963"/>
                  </a:lnTo>
                  <a:lnTo>
                    <a:pt x="2077" y="3981"/>
                  </a:lnTo>
                  <a:lnTo>
                    <a:pt x="2060" y="3998"/>
                  </a:lnTo>
                  <a:lnTo>
                    <a:pt x="2040" y="4013"/>
                  </a:lnTo>
                  <a:lnTo>
                    <a:pt x="2029" y="4021"/>
                  </a:lnTo>
                  <a:lnTo>
                    <a:pt x="2008" y="4034"/>
                  </a:lnTo>
                  <a:lnTo>
                    <a:pt x="1984" y="4047"/>
                  </a:lnTo>
                  <a:lnTo>
                    <a:pt x="1961" y="4057"/>
                  </a:lnTo>
                  <a:lnTo>
                    <a:pt x="1953" y="4059"/>
                  </a:lnTo>
                  <a:lnTo>
                    <a:pt x="1929" y="4068"/>
                  </a:lnTo>
                  <a:lnTo>
                    <a:pt x="1902" y="4074"/>
                  </a:lnTo>
                  <a:lnTo>
                    <a:pt x="1874" y="4078"/>
                  </a:lnTo>
                  <a:lnTo>
                    <a:pt x="1867" y="4078"/>
                  </a:lnTo>
                  <a:lnTo>
                    <a:pt x="1839" y="4079"/>
                  </a:lnTo>
                  <a:lnTo>
                    <a:pt x="313" y="4079"/>
                  </a:lnTo>
                  <a:lnTo>
                    <a:pt x="284" y="4078"/>
                  </a:lnTo>
                  <a:lnTo>
                    <a:pt x="277" y="4078"/>
                  </a:lnTo>
                  <a:lnTo>
                    <a:pt x="250" y="4074"/>
                  </a:lnTo>
                  <a:lnTo>
                    <a:pt x="223" y="4068"/>
                  </a:lnTo>
                  <a:lnTo>
                    <a:pt x="198" y="4059"/>
                  </a:lnTo>
                  <a:lnTo>
                    <a:pt x="191" y="4057"/>
                  </a:lnTo>
                  <a:lnTo>
                    <a:pt x="167" y="4047"/>
                  </a:lnTo>
                  <a:lnTo>
                    <a:pt x="144" y="4034"/>
                  </a:lnTo>
                  <a:lnTo>
                    <a:pt x="123" y="4021"/>
                  </a:lnTo>
                  <a:lnTo>
                    <a:pt x="112" y="4013"/>
                  </a:lnTo>
                  <a:lnTo>
                    <a:pt x="92" y="3998"/>
                  </a:lnTo>
                  <a:lnTo>
                    <a:pt x="75" y="3981"/>
                  </a:lnTo>
                  <a:lnTo>
                    <a:pt x="59" y="3963"/>
                  </a:lnTo>
                  <a:lnTo>
                    <a:pt x="45" y="3943"/>
                  </a:lnTo>
                  <a:lnTo>
                    <a:pt x="36" y="3932"/>
                  </a:lnTo>
                  <a:lnTo>
                    <a:pt x="25" y="3911"/>
                  </a:lnTo>
                  <a:lnTo>
                    <a:pt x="15" y="3888"/>
                  </a:lnTo>
                  <a:lnTo>
                    <a:pt x="14" y="3882"/>
                  </a:lnTo>
                  <a:lnTo>
                    <a:pt x="7" y="3859"/>
                  </a:lnTo>
                  <a:lnTo>
                    <a:pt x="3" y="3835"/>
                  </a:lnTo>
                  <a:lnTo>
                    <a:pt x="2" y="3828"/>
                  </a:lnTo>
                  <a:lnTo>
                    <a:pt x="0" y="3803"/>
                  </a:lnTo>
                  <a:lnTo>
                    <a:pt x="0" y="277"/>
                  </a:lnTo>
                  <a:lnTo>
                    <a:pt x="2" y="252"/>
                  </a:lnTo>
                  <a:lnTo>
                    <a:pt x="3" y="244"/>
                  </a:lnTo>
                  <a:lnTo>
                    <a:pt x="7" y="221"/>
                  </a:lnTo>
                  <a:lnTo>
                    <a:pt x="14" y="197"/>
                  </a:lnTo>
                  <a:lnTo>
                    <a:pt x="15" y="191"/>
                  </a:lnTo>
                  <a:lnTo>
                    <a:pt x="25" y="169"/>
                  </a:lnTo>
                  <a:lnTo>
                    <a:pt x="36" y="148"/>
                  </a:lnTo>
                  <a:lnTo>
                    <a:pt x="45" y="137"/>
                  </a:lnTo>
                  <a:lnTo>
                    <a:pt x="59" y="117"/>
                  </a:lnTo>
                  <a:lnTo>
                    <a:pt x="75" y="98"/>
                  </a:lnTo>
                  <a:lnTo>
                    <a:pt x="92" y="81"/>
                  </a:lnTo>
                  <a:lnTo>
                    <a:pt x="112" y="66"/>
                  </a:lnTo>
                  <a:lnTo>
                    <a:pt x="123" y="59"/>
                  </a:lnTo>
                  <a:lnTo>
                    <a:pt x="144" y="45"/>
                  </a:lnTo>
                  <a:lnTo>
                    <a:pt x="167" y="33"/>
                  </a:lnTo>
                  <a:lnTo>
                    <a:pt x="191" y="23"/>
                  </a:lnTo>
                  <a:lnTo>
                    <a:pt x="198" y="20"/>
                  </a:lnTo>
                  <a:lnTo>
                    <a:pt x="223" y="12"/>
                  </a:lnTo>
                  <a:lnTo>
                    <a:pt x="250" y="5"/>
                  </a:lnTo>
                  <a:lnTo>
                    <a:pt x="277" y="3"/>
                  </a:lnTo>
                  <a:lnTo>
                    <a:pt x="284" y="2"/>
                  </a:lnTo>
                  <a:lnTo>
                    <a:pt x="312" y="0"/>
                  </a:lnTo>
                  <a:close/>
                </a:path>
              </a:pathLst>
            </a:custGeom>
            <a:solidFill>
              <a:schemeClr val="tx1"/>
            </a:solidFill>
            <a:ln w="0">
              <a:noFill/>
              <a:prstDash val="solid"/>
              <a:round/>
              <a:headEnd/>
              <a:tailEnd/>
            </a:ln>
          </p:spPr>
          <p:txBody>
            <a:bodyPr vert="horz" wrap="square" lIns="69935" tIns="34968" rIns="69935" bIns="34968" numCol="1" anchor="t" anchorCtr="0" compatLnSpc="1">
              <a:prstTxWarp prst="textNoShape">
                <a:avLst/>
              </a:prstTxWarp>
            </a:bodyPr>
            <a:lstStyle/>
            <a:p>
              <a:pPr defTabSz="713414">
                <a:defRPr/>
              </a:pPr>
              <a:endParaRPr lang="en-GB" kern="0">
                <a:solidFill>
                  <a:srgbClr val="0078D7">
                    <a:lumMod val="75000"/>
                  </a:srgbClr>
                </a:solidFill>
              </a:endParaRPr>
            </a:p>
          </p:txBody>
        </p:sp>
      </p:grpSp>
      <p:pic>
        <p:nvPicPr>
          <p:cNvPr id="134" name="Picture 13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003052" y="3891718"/>
            <a:ext cx="740595" cy="490046"/>
          </a:xfrm>
          <a:prstGeom prst="rect">
            <a:avLst/>
          </a:prstGeom>
        </p:spPr>
      </p:pic>
      <p:sp>
        <p:nvSpPr>
          <p:cNvPr id="72" name="Rectangle 71"/>
          <p:cNvSpPr/>
          <p:nvPr/>
        </p:nvSpPr>
        <p:spPr>
          <a:xfrm>
            <a:off x="4468924" y="4211361"/>
            <a:ext cx="2483052" cy="984885"/>
          </a:xfrm>
          <a:prstGeom prst="rect">
            <a:avLst/>
          </a:prstGeom>
        </p:spPr>
        <p:txBody>
          <a:bodyPr wrap="none" lIns="0" tIns="0" rIns="0" bIns="0" anchor="b">
            <a:spAutoFit/>
          </a:bodyPr>
          <a:lstStyle/>
          <a:p>
            <a:pPr algn="ctr" defTabSz="838560"/>
            <a:r>
              <a:rPr lang="en-US" sz="1600" dirty="0">
                <a:ln>
                  <a:solidFill>
                    <a:srgbClr val="FFFFFF">
                      <a:alpha val="0"/>
                    </a:srgbClr>
                  </a:solidFill>
                </a:ln>
                <a:solidFill>
                  <a:srgbClr val="0078D7">
                    <a:lumMod val="75000"/>
                  </a:srgbClr>
                </a:solidFill>
              </a:rPr>
              <a:t>Windows 10</a:t>
            </a:r>
          </a:p>
          <a:p>
            <a:pPr algn="ctr" defTabSz="838560"/>
            <a:r>
              <a:rPr lang="en-US" sz="1600" dirty="0">
                <a:ln>
                  <a:solidFill>
                    <a:srgbClr val="FFFFFF">
                      <a:alpha val="0"/>
                    </a:srgbClr>
                  </a:solidFill>
                </a:ln>
                <a:solidFill>
                  <a:srgbClr val="0078D7">
                    <a:lumMod val="75000"/>
                  </a:srgbClr>
                </a:solidFill>
              </a:rPr>
              <a:t>Azure AD Joined or </a:t>
            </a:r>
          </a:p>
          <a:p>
            <a:pPr algn="ctr" defTabSz="838560"/>
            <a:r>
              <a:rPr lang="en-US" sz="1600" dirty="0">
                <a:ln>
                  <a:solidFill>
                    <a:srgbClr val="FFFFFF">
                      <a:alpha val="0"/>
                    </a:srgbClr>
                  </a:solidFill>
                </a:ln>
                <a:solidFill>
                  <a:srgbClr val="0078D7">
                    <a:lumMod val="75000"/>
                  </a:srgbClr>
                </a:solidFill>
              </a:rPr>
              <a:t>Domain Joined or</a:t>
            </a:r>
          </a:p>
          <a:p>
            <a:pPr algn="ctr" defTabSz="838560"/>
            <a:r>
              <a:rPr lang="en-US" sz="1600" dirty="0">
                <a:ln>
                  <a:solidFill>
                    <a:srgbClr val="FFFFFF">
                      <a:alpha val="0"/>
                    </a:srgbClr>
                  </a:solidFill>
                </a:ln>
                <a:solidFill>
                  <a:srgbClr val="0078D7">
                    <a:lumMod val="75000"/>
                  </a:srgbClr>
                </a:solidFill>
              </a:rPr>
              <a:t>BYOD + Add Work </a:t>
            </a:r>
            <a:r>
              <a:rPr lang="en-US" sz="1600" dirty="0" smtClean="0">
                <a:ln>
                  <a:solidFill>
                    <a:srgbClr val="FFFFFF">
                      <a:alpha val="0"/>
                    </a:srgbClr>
                  </a:solidFill>
                </a:ln>
                <a:solidFill>
                  <a:srgbClr val="0078D7">
                    <a:lumMod val="75000"/>
                  </a:srgbClr>
                </a:solidFill>
              </a:rPr>
              <a:t>Account</a:t>
            </a:r>
            <a:endParaRPr lang="en-US" sz="1600" dirty="0">
              <a:ln>
                <a:solidFill>
                  <a:srgbClr val="FFFFFF">
                    <a:alpha val="0"/>
                  </a:srgbClr>
                </a:solidFill>
              </a:ln>
              <a:solidFill>
                <a:srgbClr val="0078D7">
                  <a:lumMod val="75000"/>
                </a:srgbClr>
              </a:solidFill>
            </a:endParaRPr>
          </a:p>
        </p:txBody>
      </p:sp>
      <p:grpSp>
        <p:nvGrpSpPr>
          <p:cNvPr id="170" name="Group 169"/>
          <p:cNvGrpSpPr/>
          <p:nvPr/>
        </p:nvGrpSpPr>
        <p:grpSpPr>
          <a:xfrm>
            <a:off x="9032102" y="5299479"/>
            <a:ext cx="1777735" cy="538645"/>
            <a:chOff x="7907454" y="4489385"/>
            <a:chExt cx="1501869" cy="447419"/>
          </a:xfrm>
        </p:grpSpPr>
        <p:sp>
          <p:nvSpPr>
            <p:cNvPr id="171" name="Rectangle 170"/>
            <p:cNvSpPr/>
            <p:nvPr/>
          </p:nvSpPr>
          <p:spPr>
            <a:xfrm>
              <a:off x="8206839" y="4783413"/>
              <a:ext cx="1179269" cy="153391"/>
            </a:xfrm>
            <a:prstGeom prst="rect">
              <a:avLst/>
            </a:prstGeom>
            <a:ln>
              <a:noFill/>
            </a:ln>
          </p:spPr>
          <p:txBody>
            <a:bodyPr wrap="square" lIns="0" tIns="0" rIns="0" bIns="0" anchor="ctr">
              <a:spAutoFit/>
            </a:bodyPr>
            <a:lstStyle/>
            <a:p>
              <a:pPr algn="ctr" defTabSz="838811">
                <a:spcBef>
                  <a:spcPts val="1101"/>
                </a:spcBef>
              </a:pPr>
              <a:r>
                <a:rPr lang="en-US" sz="1200" dirty="0">
                  <a:ln>
                    <a:solidFill>
                      <a:srgbClr val="FFFFFF">
                        <a:alpha val="0"/>
                      </a:srgbClr>
                    </a:solidFill>
                  </a:ln>
                  <a:solidFill>
                    <a:srgbClr val="0078D7">
                      <a:lumMod val="75000"/>
                    </a:srgbClr>
                  </a:solidFill>
                </a:rPr>
                <a:t>Active</a:t>
              </a:r>
              <a:r>
                <a:rPr lang="en-US" sz="1100" dirty="0">
                  <a:ln>
                    <a:solidFill>
                      <a:srgbClr val="FFFFFF">
                        <a:alpha val="0"/>
                      </a:srgbClr>
                    </a:solidFill>
                  </a:ln>
                  <a:solidFill>
                    <a:srgbClr val="0078D7">
                      <a:lumMod val="75000"/>
                    </a:srgbClr>
                  </a:solidFill>
                </a:rPr>
                <a:t> Directory</a:t>
              </a:r>
            </a:p>
          </p:txBody>
        </p:sp>
        <p:pic>
          <p:nvPicPr>
            <p:cNvPr id="172" name="Picture 17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907454" y="4489385"/>
              <a:ext cx="1501869" cy="353020"/>
            </a:xfrm>
            <a:prstGeom prst="rect">
              <a:avLst/>
            </a:prstGeom>
          </p:spPr>
        </p:pic>
      </p:grpSp>
      <p:sp>
        <p:nvSpPr>
          <p:cNvPr id="115" name="Freeform 20"/>
          <p:cNvSpPr>
            <a:spLocks noEditPoints="1"/>
          </p:cNvSpPr>
          <p:nvPr/>
        </p:nvSpPr>
        <p:spPr bwMode="black">
          <a:xfrm>
            <a:off x="5684542" y="3661243"/>
            <a:ext cx="675005" cy="445878"/>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chemeClr val="tx1"/>
          </a:solidFill>
          <a:extLst/>
        </p:spPr>
        <p:txBody>
          <a:bodyPr vert="horz" wrap="square" lIns="62932" tIns="31466" rIns="62932" bIns="31466" numCol="1" anchor="t" anchorCtr="0" compatLnSpc="1">
            <a:prstTxWarp prst="textNoShape">
              <a:avLst/>
            </a:prstTxWarp>
          </a:bodyPr>
          <a:lstStyle/>
          <a:p>
            <a:pPr defTabSz="713089"/>
            <a:endParaRPr lang="en-US" sz="1000" dirty="0">
              <a:solidFill>
                <a:srgbClr val="0078D7">
                  <a:lumMod val="75000"/>
                </a:srgbClr>
              </a:solidFill>
            </a:endParaRPr>
          </a:p>
        </p:txBody>
      </p:sp>
      <p:pic>
        <p:nvPicPr>
          <p:cNvPr id="126" name="Picture 125"/>
          <p:cNvPicPr>
            <a:picLocks noChangeAspect="1"/>
          </p:cNvPicPr>
          <p:nvPr/>
        </p:nvPicPr>
        <p:blipFill>
          <a:blip r:embed="rId8" cstate="screen">
            <a:extLst>
              <a:ext uri="{BEBA8EAE-BF5A-486C-A8C5-ECC9F3942E4B}">
                <a14:imgProps xmlns:a14="http://schemas.microsoft.com/office/drawing/2010/main">
                  <a14:imgLayer r:embed="rId9">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5381084" y="3539268"/>
            <a:ext cx="270480" cy="488792"/>
          </a:xfrm>
          <a:prstGeom prst="rect">
            <a:avLst/>
          </a:prstGeom>
          <a:solidFill>
            <a:srgbClr val="0070C0"/>
          </a:solidFill>
          <a:ln>
            <a:noFill/>
          </a:ln>
        </p:spPr>
      </p:pic>
      <p:sp>
        <p:nvSpPr>
          <p:cNvPr id="131" name="Rounded Rectangle 2"/>
          <p:cNvSpPr>
            <a:spLocks noChangeAspect="1"/>
          </p:cNvSpPr>
          <p:nvPr/>
        </p:nvSpPr>
        <p:spPr>
          <a:xfrm>
            <a:off x="5044097" y="3744303"/>
            <a:ext cx="238136" cy="320953"/>
          </a:xfrm>
          <a:custGeom>
            <a:avLst/>
            <a:gdLst/>
            <a:ahLst/>
            <a:cxnLst/>
            <a:rect l="l" t="t" r="r" b="b"/>
            <a:pathLst>
              <a:path w="972859" h="1315152">
                <a:moveTo>
                  <a:pt x="481193" y="1210796"/>
                </a:moveTo>
                <a:cubicBezTo>
                  <a:pt x="460084" y="1210796"/>
                  <a:pt x="442971" y="1227887"/>
                  <a:pt x="442971" y="1248969"/>
                </a:cubicBezTo>
                <a:cubicBezTo>
                  <a:pt x="442971" y="1270051"/>
                  <a:pt x="460084" y="1287142"/>
                  <a:pt x="481193" y="1287142"/>
                </a:cubicBezTo>
                <a:cubicBezTo>
                  <a:pt x="502302" y="1287142"/>
                  <a:pt x="519415" y="1270051"/>
                  <a:pt x="519415" y="1248969"/>
                </a:cubicBezTo>
                <a:cubicBezTo>
                  <a:pt x="519415" y="1227887"/>
                  <a:pt x="502302" y="1210796"/>
                  <a:pt x="481193" y="1210796"/>
                </a:cubicBezTo>
                <a:close/>
                <a:moveTo>
                  <a:pt x="124209" y="103179"/>
                </a:moveTo>
                <a:lnTo>
                  <a:pt x="124209" y="1173063"/>
                </a:lnTo>
                <a:lnTo>
                  <a:pt x="855062" y="1173063"/>
                </a:lnTo>
                <a:lnTo>
                  <a:pt x="855062" y="103179"/>
                </a:lnTo>
                <a:close/>
                <a:moveTo>
                  <a:pt x="50054" y="0"/>
                </a:moveTo>
                <a:lnTo>
                  <a:pt x="922805" y="0"/>
                </a:lnTo>
                <a:cubicBezTo>
                  <a:pt x="950449" y="0"/>
                  <a:pt x="972859" y="22410"/>
                  <a:pt x="972859" y="50054"/>
                </a:cubicBezTo>
                <a:lnTo>
                  <a:pt x="972859" y="1265098"/>
                </a:lnTo>
                <a:cubicBezTo>
                  <a:pt x="972859" y="1292742"/>
                  <a:pt x="950449" y="1315152"/>
                  <a:pt x="922805" y="1315152"/>
                </a:cubicBezTo>
                <a:lnTo>
                  <a:pt x="50054" y="1315152"/>
                </a:lnTo>
                <a:cubicBezTo>
                  <a:pt x="22410" y="1315152"/>
                  <a:pt x="0" y="1292742"/>
                  <a:pt x="0" y="1265098"/>
                </a:cubicBezTo>
                <a:lnTo>
                  <a:pt x="0" y="50054"/>
                </a:lnTo>
                <a:cubicBezTo>
                  <a:pt x="0" y="22410"/>
                  <a:pt x="22410" y="0"/>
                  <a:pt x="50054" y="0"/>
                </a:cubicBezTo>
                <a:close/>
              </a:path>
            </a:pathLst>
          </a:custGeom>
          <a:solidFill>
            <a:schemeClr val="tx1"/>
          </a:solidFill>
          <a:ln w="1174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9087"/>
            <a:endParaRPr lang="en-US" sz="2000" dirty="0">
              <a:solidFill>
                <a:srgbClr val="0078D7">
                  <a:lumMod val="75000"/>
                </a:srgbClr>
              </a:solidFill>
            </a:endParaRPr>
          </a:p>
        </p:txBody>
      </p:sp>
      <p:cxnSp>
        <p:nvCxnSpPr>
          <p:cNvPr id="12" name="Curved Connector 11"/>
          <p:cNvCxnSpPr/>
          <p:nvPr/>
        </p:nvCxnSpPr>
        <p:spPr>
          <a:xfrm rot="10800000" flipV="1">
            <a:off x="6359547" y="3057162"/>
            <a:ext cx="2359760" cy="827020"/>
          </a:xfrm>
          <a:prstGeom prst="curvedConnector3">
            <a:avLst>
              <a:gd name="adj1" fmla="val 50000"/>
            </a:avLst>
          </a:prstGeom>
          <a:ln w="57150">
            <a:headEnd type="triangle"/>
            <a:tailEnd type="triangle"/>
          </a:ln>
        </p:spPr>
        <p:style>
          <a:lnRef idx="2">
            <a:schemeClr val="accent2"/>
          </a:lnRef>
          <a:fillRef idx="0">
            <a:schemeClr val="accent2"/>
          </a:fillRef>
          <a:effectRef idx="1">
            <a:schemeClr val="accent2"/>
          </a:effectRef>
          <a:fontRef idx="minor">
            <a:schemeClr val="tx1"/>
          </a:fontRef>
        </p:style>
      </p:cxnSp>
      <p:grpSp>
        <p:nvGrpSpPr>
          <p:cNvPr id="101" name="Group 100"/>
          <p:cNvGrpSpPr/>
          <p:nvPr/>
        </p:nvGrpSpPr>
        <p:grpSpPr>
          <a:xfrm>
            <a:off x="7852637" y="2587952"/>
            <a:ext cx="1533715" cy="628550"/>
            <a:chOff x="6716617" y="1788568"/>
            <a:chExt cx="1634785" cy="860248"/>
          </a:xfrm>
        </p:grpSpPr>
        <p:sp>
          <p:nvSpPr>
            <p:cNvPr id="102" name="Rectangle 101"/>
            <p:cNvSpPr/>
            <p:nvPr/>
          </p:nvSpPr>
          <p:spPr>
            <a:xfrm>
              <a:off x="6716617" y="1788568"/>
              <a:ext cx="1110055" cy="392036"/>
            </a:xfrm>
            <a:prstGeom prst="rect">
              <a:avLst/>
            </a:prstGeom>
            <a:noFill/>
            <a:ln>
              <a:noFill/>
            </a:ln>
          </p:spPr>
          <p:txBody>
            <a:bodyPr wrap="square" lIns="0" tIns="0" rIns="0" bIns="0" anchor="ctr" anchorCtr="0">
              <a:noAutofit/>
            </a:bodyPr>
            <a:lstStyle/>
            <a:p>
              <a:pPr defTabSz="838811">
                <a:spcBef>
                  <a:spcPts val="1101"/>
                </a:spcBef>
              </a:pPr>
              <a:r>
                <a:rPr lang="en-US" sz="1200" b="1" dirty="0" smtClean="0">
                  <a:ln>
                    <a:solidFill>
                      <a:srgbClr val="FFFFFF">
                        <a:alpha val="0"/>
                      </a:srgbClr>
                    </a:solidFill>
                  </a:ln>
                  <a:solidFill>
                    <a:srgbClr val="0078D7">
                      <a:lumMod val="75000"/>
                    </a:srgbClr>
                  </a:solidFill>
                </a:rPr>
                <a:t>Active Directory Federation Services</a:t>
              </a:r>
              <a:endParaRPr lang="en-US" sz="1200" b="1" dirty="0">
                <a:ln>
                  <a:solidFill>
                    <a:srgbClr val="FFFFFF">
                      <a:alpha val="0"/>
                    </a:srgbClr>
                  </a:solidFill>
                </a:ln>
                <a:solidFill>
                  <a:srgbClr val="0078D7">
                    <a:lumMod val="75000"/>
                  </a:srgbClr>
                </a:solidFill>
              </a:endParaRPr>
            </a:p>
          </p:txBody>
        </p:sp>
        <p:grpSp>
          <p:nvGrpSpPr>
            <p:cNvPr id="103" name="Group 102"/>
            <p:cNvGrpSpPr/>
            <p:nvPr/>
          </p:nvGrpSpPr>
          <p:grpSpPr>
            <a:xfrm>
              <a:off x="7585820" y="1862766"/>
              <a:ext cx="765582" cy="786050"/>
              <a:chOff x="7585820" y="1862766"/>
              <a:chExt cx="765582" cy="786050"/>
            </a:xfrm>
          </p:grpSpPr>
          <p:grpSp>
            <p:nvGrpSpPr>
              <p:cNvPr id="104" name="Group 103"/>
              <p:cNvGrpSpPr/>
              <p:nvPr/>
            </p:nvGrpSpPr>
            <p:grpSpPr>
              <a:xfrm>
                <a:off x="7585820" y="1862766"/>
                <a:ext cx="711299" cy="786050"/>
                <a:chOff x="7480679" y="4598931"/>
                <a:chExt cx="711299" cy="786050"/>
              </a:xfrm>
            </p:grpSpPr>
            <p:sp>
              <p:nvSpPr>
                <p:cNvPr id="106" name="Rounded Rectangle 105"/>
                <p:cNvSpPr/>
                <p:nvPr/>
              </p:nvSpPr>
              <p:spPr bwMode="auto">
                <a:xfrm>
                  <a:off x="7480679" y="4598931"/>
                  <a:ext cx="711299" cy="786050"/>
                </a:xfrm>
                <a:prstGeom prst="roundRect">
                  <a:avLst/>
                </a:prstGeom>
                <a:solidFill>
                  <a:schemeClr val="tx1"/>
                </a:solidFill>
                <a:ln w="381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3" rIns="0" bIns="34973" numCol="1" rtlCol="0" anchor="ctr" anchorCtr="0" compatLnSpc="1">
                  <a:prstTxWarp prst="textNoShape">
                    <a:avLst/>
                  </a:prstTxWarp>
                </a:bodyPr>
                <a:lstStyle/>
                <a:p>
                  <a:pPr algn="ctr" defTabSz="699291" fontAlgn="base">
                    <a:spcBef>
                      <a:spcPct val="0"/>
                    </a:spcBef>
                    <a:spcAft>
                      <a:spcPct val="0"/>
                    </a:spcAft>
                  </a:pPr>
                  <a:endParaRPr lang="en-US" sz="1100" dirty="0">
                    <a:solidFill>
                      <a:srgbClr val="0078D7">
                        <a:lumMod val="75000"/>
                      </a:srgbClr>
                    </a:solidFill>
                    <a:cs typeface="Segoe UI Semibold" panose="020B0702040204020203" pitchFamily="34" charset="0"/>
                  </a:endParaRPr>
                </a:p>
              </p:txBody>
            </p:sp>
            <p:sp>
              <p:nvSpPr>
                <p:cNvPr id="107" name="Freeform 9"/>
                <p:cNvSpPr>
                  <a:spLocks noChangeAspect="1" noEditPoints="1"/>
                </p:cNvSpPr>
                <p:nvPr/>
              </p:nvSpPr>
              <p:spPr bwMode="black">
                <a:xfrm>
                  <a:off x="7589837" y="4962285"/>
                  <a:ext cx="412151" cy="334185"/>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accent2">
                    <a:lumMod val="60000"/>
                    <a:lumOff val="40000"/>
                  </a:schemeClr>
                </a:solidFill>
                <a:ln>
                  <a:noFill/>
                </a:ln>
              </p:spPr>
              <p:txBody>
                <a:bodyPr vert="horz" wrap="square" lIns="68570" tIns="34285" rIns="68570" bIns="34285" numCol="1" anchor="t" anchorCtr="0" compatLnSpc="1">
                  <a:prstTxWarp prst="textNoShape">
                    <a:avLst/>
                  </a:prstTxWarp>
                </a:bodyPr>
                <a:lstStyle/>
                <a:p>
                  <a:pPr defTabSz="932597"/>
                  <a:endParaRPr lang="en-US" dirty="0">
                    <a:solidFill>
                      <a:srgbClr val="0078D7">
                        <a:lumMod val="75000"/>
                      </a:srgbClr>
                    </a:solidFill>
                  </a:endParaRPr>
                </a:p>
              </p:txBody>
            </p:sp>
            <p:sp>
              <p:nvSpPr>
                <p:cNvPr id="108" name="Rectangle 107"/>
                <p:cNvSpPr/>
                <p:nvPr/>
              </p:nvSpPr>
              <p:spPr>
                <a:xfrm>
                  <a:off x="7667213" y="5115226"/>
                  <a:ext cx="502996" cy="225735"/>
                </a:xfrm>
                <a:prstGeom prst="rect">
                  <a:avLst/>
                </a:prstGeom>
              </p:spPr>
              <p:txBody>
                <a:bodyPr wrap="square" lIns="0" tIns="0" rIns="0" bIns="0" anchor="b">
                  <a:spAutoFit/>
                </a:bodyPr>
                <a:lstStyle/>
                <a:p>
                  <a:pPr algn="ctr" defTabSz="838560"/>
                  <a:endParaRPr lang="en-US" sz="1100" dirty="0">
                    <a:ln>
                      <a:solidFill>
                        <a:srgbClr val="FFFFFF">
                          <a:alpha val="0"/>
                        </a:srgbClr>
                      </a:solidFill>
                    </a:ln>
                    <a:solidFill>
                      <a:srgbClr val="0078D7">
                        <a:lumMod val="75000"/>
                      </a:srgbClr>
                    </a:solidFill>
                  </a:endParaRPr>
                </a:p>
              </p:txBody>
            </p:sp>
          </p:grpSp>
          <p:sp>
            <p:nvSpPr>
              <p:cNvPr id="105" name="Rectangle 104"/>
              <p:cNvSpPr/>
              <p:nvPr/>
            </p:nvSpPr>
            <p:spPr>
              <a:xfrm>
                <a:off x="7848407" y="2393422"/>
                <a:ext cx="502995" cy="225735"/>
              </a:xfrm>
              <a:prstGeom prst="rect">
                <a:avLst/>
              </a:prstGeom>
            </p:spPr>
            <p:txBody>
              <a:bodyPr wrap="square" lIns="0" tIns="0" rIns="0" bIns="0" anchor="b">
                <a:spAutoFit/>
              </a:bodyPr>
              <a:lstStyle/>
              <a:p>
                <a:pPr algn="ctr" defTabSz="838560"/>
                <a:r>
                  <a:rPr lang="en-US" sz="1100" dirty="0" smtClean="0">
                    <a:ln>
                      <a:solidFill>
                        <a:srgbClr val="FFFFFF">
                          <a:alpha val="0"/>
                        </a:srgbClr>
                      </a:solidFill>
                    </a:ln>
                    <a:solidFill>
                      <a:srgbClr val="0078D7">
                        <a:lumMod val="75000"/>
                      </a:srgbClr>
                    </a:solidFill>
                  </a:rPr>
                  <a:t>ADFS</a:t>
                </a:r>
                <a:endParaRPr lang="en-US" sz="1100" dirty="0">
                  <a:ln>
                    <a:solidFill>
                      <a:srgbClr val="FFFFFF">
                        <a:alpha val="0"/>
                      </a:srgbClr>
                    </a:solidFill>
                  </a:ln>
                  <a:solidFill>
                    <a:srgbClr val="0078D7">
                      <a:lumMod val="75000"/>
                    </a:srgbClr>
                  </a:solidFill>
                </a:endParaRPr>
              </a:p>
            </p:txBody>
          </p:sp>
        </p:grpSp>
      </p:grpSp>
      <p:pic>
        <p:nvPicPr>
          <p:cNvPr id="109" name="Picture 10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155452" y="4044118"/>
            <a:ext cx="740595" cy="490046"/>
          </a:xfrm>
          <a:prstGeom prst="rect">
            <a:avLst/>
          </a:prstGeom>
        </p:spPr>
      </p:pic>
      <p:pic>
        <p:nvPicPr>
          <p:cNvPr id="110" name="Picture 10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417862" y="3672350"/>
            <a:ext cx="740595" cy="490046"/>
          </a:xfrm>
          <a:prstGeom prst="rect">
            <a:avLst/>
          </a:prstGeom>
        </p:spPr>
      </p:pic>
      <p:grpSp>
        <p:nvGrpSpPr>
          <p:cNvPr id="111" name="Group 110"/>
          <p:cNvGrpSpPr/>
          <p:nvPr/>
        </p:nvGrpSpPr>
        <p:grpSpPr>
          <a:xfrm>
            <a:off x="8349218" y="1985768"/>
            <a:ext cx="1686496" cy="645094"/>
            <a:chOff x="6716617" y="1788568"/>
            <a:chExt cx="1634785" cy="860248"/>
          </a:xfrm>
        </p:grpSpPr>
        <p:sp>
          <p:nvSpPr>
            <p:cNvPr id="112" name="Rectangle 111"/>
            <p:cNvSpPr/>
            <p:nvPr/>
          </p:nvSpPr>
          <p:spPr>
            <a:xfrm>
              <a:off x="6716617" y="1788568"/>
              <a:ext cx="1110055" cy="392036"/>
            </a:xfrm>
            <a:prstGeom prst="rect">
              <a:avLst/>
            </a:prstGeom>
            <a:noFill/>
            <a:ln>
              <a:noFill/>
            </a:ln>
          </p:spPr>
          <p:txBody>
            <a:bodyPr wrap="square" lIns="0" tIns="0" rIns="0" bIns="0" anchor="ctr" anchorCtr="0">
              <a:noAutofit/>
            </a:bodyPr>
            <a:lstStyle/>
            <a:p>
              <a:pPr defTabSz="838811">
                <a:spcBef>
                  <a:spcPts val="1101"/>
                </a:spcBef>
              </a:pPr>
              <a:r>
                <a:rPr lang="en-US" sz="1200" b="1" dirty="0" smtClean="0">
                  <a:ln>
                    <a:solidFill>
                      <a:srgbClr val="FFFFFF">
                        <a:alpha val="0"/>
                      </a:srgbClr>
                    </a:solidFill>
                  </a:ln>
                  <a:solidFill>
                    <a:srgbClr val="0078D7">
                      <a:lumMod val="75000"/>
                    </a:srgbClr>
                  </a:solidFill>
                </a:rPr>
                <a:t>AD </a:t>
              </a:r>
              <a:r>
                <a:rPr lang="en-US" sz="1200" b="1" dirty="0">
                  <a:ln>
                    <a:solidFill>
                      <a:srgbClr val="FFFFFF">
                        <a:alpha val="0"/>
                      </a:srgbClr>
                    </a:solidFill>
                  </a:ln>
                  <a:solidFill>
                    <a:srgbClr val="0078D7">
                      <a:lumMod val="75000"/>
                    </a:srgbClr>
                  </a:solidFill>
                </a:rPr>
                <a:t>Device Registration Service</a:t>
              </a:r>
            </a:p>
          </p:txBody>
        </p:sp>
        <p:grpSp>
          <p:nvGrpSpPr>
            <p:cNvPr id="113" name="Group 112"/>
            <p:cNvGrpSpPr/>
            <p:nvPr/>
          </p:nvGrpSpPr>
          <p:grpSpPr>
            <a:xfrm>
              <a:off x="7585820" y="1862766"/>
              <a:ext cx="765582" cy="786050"/>
              <a:chOff x="7585820" y="1862766"/>
              <a:chExt cx="765582" cy="786050"/>
            </a:xfrm>
          </p:grpSpPr>
          <p:grpSp>
            <p:nvGrpSpPr>
              <p:cNvPr id="114" name="Group 113"/>
              <p:cNvGrpSpPr/>
              <p:nvPr/>
            </p:nvGrpSpPr>
            <p:grpSpPr>
              <a:xfrm>
                <a:off x="7585820" y="1862766"/>
                <a:ext cx="711299" cy="786050"/>
                <a:chOff x="7480679" y="4598931"/>
                <a:chExt cx="711299" cy="786050"/>
              </a:xfrm>
            </p:grpSpPr>
            <p:sp>
              <p:nvSpPr>
                <p:cNvPr id="117" name="Rounded Rectangle 116"/>
                <p:cNvSpPr/>
                <p:nvPr/>
              </p:nvSpPr>
              <p:spPr bwMode="auto">
                <a:xfrm>
                  <a:off x="7480679" y="4598931"/>
                  <a:ext cx="711299" cy="786050"/>
                </a:xfrm>
                <a:prstGeom prst="roundRect">
                  <a:avLst/>
                </a:prstGeom>
                <a:solidFill>
                  <a:schemeClr val="tx1"/>
                </a:solidFill>
                <a:ln w="381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3" rIns="0" bIns="34973" numCol="1" rtlCol="0" anchor="ctr" anchorCtr="0" compatLnSpc="1">
                  <a:prstTxWarp prst="textNoShape">
                    <a:avLst/>
                  </a:prstTxWarp>
                </a:bodyPr>
                <a:lstStyle/>
                <a:p>
                  <a:pPr algn="ctr" defTabSz="699291" fontAlgn="base">
                    <a:spcBef>
                      <a:spcPct val="0"/>
                    </a:spcBef>
                    <a:spcAft>
                      <a:spcPct val="0"/>
                    </a:spcAft>
                  </a:pPr>
                  <a:endParaRPr lang="en-US" sz="1100" dirty="0">
                    <a:solidFill>
                      <a:srgbClr val="0078D7">
                        <a:lumMod val="75000"/>
                      </a:srgbClr>
                    </a:solidFill>
                    <a:cs typeface="Segoe UI Semibold" panose="020B0702040204020203" pitchFamily="34" charset="0"/>
                  </a:endParaRPr>
                </a:p>
              </p:txBody>
            </p:sp>
            <p:sp>
              <p:nvSpPr>
                <p:cNvPr id="118" name="Freeform 9"/>
                <p:cNvSpPr>
                  <a:spLocks noChangeAspect="1" noEditPoints="1"/>
                </p:cNvSpPr>
                <p:nvPr/>
              </p:nvSpPr>
              <p:spPr bwMode="black">
                <a:xfrm>
                  <a:off x="7589837" y="4962285"/>
                  <a:ext cx="412151" cy="334185"/>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accent2">
                    <a:lumMod val="60000"/>
                    <a:lumOff val="40000"/>
                  </a:schemeClr>
                </a:solidFill>
                <a:ln>
                  <a:noFill/>
                </a:ln>
              </p:spPr>
              <p:txBody>
                <a:bodyPr vert="horz" wrap="square" lIns="68570" tIns="34285" rIns="68570" bIns="34285" numCol="1" anchor="t" anchorCtr="0" compatLnSpc="1">
                  <a:prstTxWarp prst="textNoShape">
                    <a:avLst/>
                  </a:prstTxWarp>
                </a:bodyPr>
                <a:lstStyle/>
                <a:p>
                  <a:pPr defTabSz="932597"/>
                  <a:endParaRPr lang="en-US" dirty="0">
                    <a:solidFill>
                      <a:srgbClr val="0078D7">
                        <a:lumMod val="75000"/>
                      </a:srgbClr>
                    </a:solidFill>
                  </a:endParaRPr>
                </a:p>
              </p:txBody>
            </p:sp>
            <p:sp>
              <p:nvSpPr>
                <p:cNvPr id="119" name="Rectangle 118"/>
                <p:cNvSpPr/>
                <p:nvPr/>
              </p:nvSpPr>
              <p:spPr>
                <a:xfrm>
                  <a:off x="7667213" y="5115226"/>
                  <a:ext cx="502996" cy="225735"/>
                </a:xfrm>
                <a:prstGeom prst="rect">
                  <a:avLst/>
                </a:prstGeom>
              </p:spPr>
              <p:txBody>
                <a:bodyPr wrap="square" lIns="0" tIns="0" rIns="0" bIns="0" anchor="b">
                  <a:spAutoFit/>
                </a:bodyPr>
                <a:lstStyle/>
                <a:p>
                  <a:pPr algn="ctr" defTabSz="838560"/>
                  <a:endParaRPr lang="en-US" sz="1100" dirty="0">
                    <a:ln>
                      <a:solidFill>
                        <a:srgbClr val="FFFFFF">
                          <a:alpha val="0"/>
                        </a:srgbClr>
                      </a:solidFill>
                    </a:ln>
                    <a:solidFill>
                      <a:srgbClr val="0078D7">
                        <a:lumMod val="75000"/>
                      </a:srgbClr>
                    </a:solidFill>
                  </a:endParaRPr>
                </a:p>
              </p:txBody>
            </p:sp>
          </p:grpSp>
          <p:sp>
            <p:nvSpPr>
              <p:cNvPr id="116" name="Rectangle 115"/>
              <p:cNvSpPr/>
              <p:nvPr/>
            </p:nvSpPr>
            <p:spPr>
              <a:xfrm>
                <a:off x="7848407" y="2393422"/>
                <a:ext cx="502995" cy="225735"/>
              </a:xfrm>
              <a:prstGeom prst="rect">
                <a:avLst/>
              </a:prstGeom>
            </p:spPr>
            <p:txBody>
              <a:bodyPr wrap="square" lIns="0" tIns="0" rIns="0" bIns="0" anchor="b">
                <a:spAutoFit/>
              </a:bodyPr>
              <a:lstStyle/>
              <a:p>
                <a:pPr algn="ctr" defTabSz="838560"/>
                <a:r>
                  <a:rPr lang="en-US" sz="1100" dirty="0">
                    <a:ln>
                      <a:solidFill>
                        <a:srgbClr val="FFFFFF">
                          <a:alpha val="0"/>
                        </a:srgbClr>
                      </a:solidFill>
                    </a:ln>
                    <a:solidFill>
                      <a:srgbClr val="0078D7">
                        <a:lumMod val="75000"/>
                      </a:srgbClr>
                    </a:solidFill>
                  </a:rPr>
                  <a:t>ADRS</a:t>
                </a:r>
              </a:p>
            </p:txBody>
          </p:sp>
        </p:grpSp>
      </p:grpSp>
      <p:sp>
        <p:nvSpPr>
          <p:cNvPr id="29" name="TextBox 28"/>
          <p:cNvSpPr txBox="1"/>
          <p:nvPr/>
        </p:nvSpPr>
        <p:spPr>
          <a:xfrm>
            <a:off x="8704213" y="4186358"/>
            <a:ext cx="1580346" cy="489365"/>
          </a:xfrm>
          <a:prstGeom prst="rect">
            <a:avLst/>
          </a:prstGeom>
          <a:noFill/>
        </p:spPr>
        <p:txBody>
          <a:bodyPr wrap="square" lIns="182880" tIns="146304" rIns="182880" bIns="146304" rtlCol="0">
            <a:spAutoFit/>
          </a:bodyPr>
          <a:lstStyle/>
          <a:p>
            <a:pPr>
              <a:lnSpc>
                <a:spcPct val="90000"/>
              </a:lnSpc>
              <a:spcAft>
                <a:spcPts val="600"/>
              </a:spcAft>
            </a:pPr>
            <a:r>
              <a:rPr lang="en-US" sz="1400" b="1" dirty="0" smtClean="0">
                <a:ln>
                  <a:solidFill>
                    <a:srgbClr val="FFFFFF">
                      <a:alpha val="0"/>
                    </a:srgbClr>
                  </a:solidFill>
                </a:ln>
                <a:solidFill>
                  <a:srgbClr val="0078D7">
                    <a:lumMod val="75000"/>
                  </a:srgbClr>
                </a:solidFill>
              </a:rPr>
              <a:t>AD Site DCs</a:t>
            </a:r>
            <a:endParaRPr lang="en-US" sz="1400" dirty="0" smtClean="0">
              <a:gradFill>
                <a:gsLst>
                  <a:gs pos="2917">
                    <a:srgbClr val="FFFFFF"/>
                  </a:gs>
                  <a:gs pos="30000">
                    <a:srgbClr val="FFFFFF"/>
                  </a:gs>
                </a:gsLst>
                <a:lin ang="5400000" scaled="0"/>
              </a:gradFill>
            </a:endParaRPr>
          </a:p>
        </p:txBody>
      </p:sp>
      <p:sp>
        <p:nvSpPr>
          <p:cNvPr id="132" name="TextBox 131"/>
          <p:cNvSpPr txBox="1"/>
          <p:nvPr/>
        </p:nvSpPr>
        <p:spPr>
          <a:xfrm>
            <a:off x="1189037" y="144462"/>
            <a:ext cx="799193" cy="6705600"/>
          </a:xfrm>
          <a:prstGeom prst="rect">
            <a:avLst/>
          </a:prstGeom>
          <a:noFill/>
        </p:spPr>
        <p:txBody>
          <a:bodyPr vert="wordArtVert" wrap="square" lIns="182880" tIns="146304" rIns="182880" bIns="146304" rtlCol="0">
            <a:spAutoFit/>
          </a:bodyPr>
          <a:lstStyle/>
          <a:p>
            <a:pPr defTabSz="932472" fontAlgn="base">
              <a:lnSpc>
                <a:spcPct val="90000"/>
              </a:lnSpc>
              <a:spcBef>
                <a:spcPct val="0"/>
              </a:spcBef>
              <a:spcAft>
                <a:spcPct val="0"/>
              </a:spcAft>
              <a:defRPr/>
            </a:pPr>
            <a:r>
              <a:rPr lang="en-US" sz="2400" dirty="0" smtClean="0">
                <a:gradFill>
                  <a:gsLst>
                    <a:gs pos="0">
                      <a:srgbClr val="FFFFFF"/>
                    </a:gs>
                    <a:gs pos="100000">
                      <a:srgbClr val="FFFFFF"/>
                    </a:gs>
                  </a:gsLst>
                  <a:lin ang="5400000" scaled="0"/>
                </a:gradFill>
                <a:ea typeface="Segoe UI" pitchFamily="34" charset="0"/>
                <a:cs typeface="Segoe UI" pitchFamily="34" charset="0"/>
              </a:rPr>
              <a:t>ON PREM ONLY</a:t>
            </a: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84966747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10"/>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0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showMasterSp="0">
  <p:cSld>
    <p:bg>
      <p:bgPr>
        <a:solidFill>
          <a:schemeClr val="tx2">
            <a:lumMod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ployment requirements</a:t>
            </a:r>
            <a:br>
              <a:rPr lang="en-US" dirty="0" smtClean="0"/>
            </a:br>
            <a:r>
              <a:rPr lang="en-US" sz="2400" dirty="0"/>
              <a:t>Per Active Directory deployment configuration  </a:t>
            </a:r>
            <a:endParaRPr lang="en-US" sz="1350" dirty="0"/>
          </a:p>
        </p:txBody>
      </p:sp>
      <p:graphicFrame>
        <p:nvGraphicFramePr>
          <p:cNvPr id="6" name="Table 5"/>
          <p:cNvGraphicFramePr>
            <a:graphicFrameLocks noGrp="1"/>
          </p:cNvGraphicFramePr>
          <p:nvPr>
            <p:extLst/>
          </p:nvPr>
        </p:nvGraphicFramePr>
        <p:xfrm>
          <a:off x="1761170" y="2194442"/>
          <a:ext cx="1599972" cy="4046020"/>
        </p:xfrm>
        <a:graphic>
          <a:graphicData uri="http://schemas.openxmlformats.org/drawingml/2006/table">
            <a:tbl>
              <a:tblPr firstRow="1" bandRow="1">
                <a:tableStyleId>{5C22544A-7EE6-4342-B048-85BDC9FD1C3A}</a:tableStyleId>
              </a:tblPr>
              <a:tblGrid>
                <a:gridCol w="1599972"/>
              </a:tblGrid>
              <a:tr h="431008">
                <a:tc>
                  <a:txBody>
                    <a:bodyPr/>
                    <a:lstStyle/>
                    <a:p>
                      <a:pPr defTabSz="932472" fontAlgn="base">
                        <a:lnSpc>
                          <a:spcPct val="90000"/>
                        </a:lnSpc>
                        <a:spcBef>
                          <a:spcPct val="0"/>
                        </a:spcBef>
                        <a:spcAft>
                          <a:spcPct val="0"/>
                        </a:spcAft>
                      </a:pPr>
                      <a:r>
                        <a:rPr lang="en-US" sz="2100" b="1" kern="1200" dirty="0" smtClean="0">
                          <a:gradFill>
                            <a:gsLst>
                              <a:gs pos="0">
                                <a:srgbClr val="FFFFFF"/>
                              </a:gs>
                              <a:gs pos="100000">
                                <a:srgbClr val="FFFFFF"/>
                              </a:gs>
                            </a:gsLst>
                            <a:lin ang="5400000" scaled="0"/>
                          </a:gradFill>
                          <a:latin typeface="+mj-lt"/>
                          <a:ea typeface="Segoe UI" pitchFamily="34" charset="0"/>
                          <a:cs typeface="Segoe UI" pitchFamily="34" charset="0"/>
                        </a:rPr>
                        <a:t>Passport</a:t>
                      </a:r>
                    </a:p>
                  </a:txBody>
                  <a:tcPr marL="137141" marR="137141" marT="68570" marB="68570" anchor="ctr">
                    <a:lnL w="9525" cap="flat" cmpd="sng" algn="ctr">
                      <a:no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2">
                        <a:lumMod val="60000"/>
                        <a:lumOff val="40000"/>
                      </a:schemeClr>
                    </a:solidFill>
                  </a:tcPr>
                </a:tc>
              </a:tr>
              <a:tr h="1108553">
                <a:tc>
                  <a:txBody>
                    <a:bodyPr/>
                    <a:lstStyle/>
                    <a:p>
                      <a:r>
                        <a:rPr lang="en-US" sz="1500" dirty="0" smtClean="0"/>
                        <a:t>Key-based</a:t>
                      </a:r>
                      <a:endParaRPr lang="en-US" sz="1500" dirty="0"/>
                    </a:p>
                  </a:txBody>
                  <a:tcPr marL="137141" marR="137141" marT="68570" marB="68570"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r>
              <a:tr h="2506459">
                <a:tc>
                  <a:txBody>
                    <a:bodyPr/>
                    <a:lstStyle/>
                    <a:p>
                      <a:endParaRPr lang="en-US" sz="1500" dirty="0" smtClean="0"/>
                    </a:p>
                    <a:p>
                      <a:r>
                        <a:rPr lang="en-US" sz="1500" dirty="0" smtClean="0"/>
                        <a:t>Cert-based</a:t>
                      </a:r>
                      <a:endParaRPr lang="en-US" sz="1500" dirty="0"/>
                    </a:p>
                  </a:txBody>
                  <a:tcPr marL="137141" marR="137141" marT="68570" marB="68570"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r>
            </a:tbl>
          </a:graphicData>
        </a:graphic>
      </p:graphicFrame>
    </p:spTree>
    <p:extLst>
      <p:ext uri="{BB962C8B-B14F-4D97-AF65-F5344CB8AC3E}">
        <p14:creationId xmlns:p14="http://schemas.microsoft.com/office/powerpoint/2010/main" val="56361368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showMasterSp="0">
  <p:cSld>
    <p:bg>
      <p:bgPr>
        <a:solidFill>
          <a:schemeClr val="tx2">
            <a:lumMod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ployment requirements</a:t>
            </a:r>
            <a:br>
              <a:rPr lang="en-US" dirty="0" smtClean="0"/>
            </a:br>
            <a:r>
              <a:rPr lang="en-US" sz="2400" dirty="0"/>
              <a:t>Per Active Directory deployment configuration  </a:t>
            </a:r>
            <a:endParaRPr lang="en-US" sz="1350" dirty="0"/>
          </a:p>
        </p:txBody>
      </p:sp>
      <p:graphicFrame>
        <p:nvGraphicFramePr>
          <p:cNvPr id="6" name="Table 5"/>
          <p:cNvGraphicFramePr>
            <a:graphicFrameLocks noGrp="1"/>
          </p:cNvGraphicFramePr>
          <p:nvPr>
            <p:extLst/>
          </p:nvPr>
        </p:nvGraphicFramePr>
        <p:xfrm>
          <a:off x="1761172" y="2194442"/>
          <a:ext cx="4228499" cy="4048155"/>
        </p:xfrm>
        <a:graphic>
          <a:graphicData uri="http://schemas.openxmlformats.org/drawingml/2006/table">
            <a:tbl>
              <a:tblPr firstRow="1" bandRow="1">
                <a:tableStyleId>{5C22544A-7EE6-4342-B048-85BDC9FD1C3A}</a:tableStyleId>
              </a:tblPr>
              <a:tblGrid>
                <a:gridCol w="1713865"/>
                <a:gridCol w="2514634"/>
              </a:tblGrid>
              <a:tr h="423041">
                <a:tc>
                  <a:txBody>
                    <a:bodyPr/>
                    <a:lstStyle/>
                    <a:p>
                      <a:pPr defTabSz="932472" fontAlgn="base">
                        <a:lnSpc>
                          <a:spcPct val="90000"/>
                        </a:lnSpc>
                        <a:spcBef>
                          <a:spcPct val="0"/>
                        </a:spcBef>
                        <a:spcAft>
                          <a:spcPct val="0"/>
                        </a:spcAft>
                      </a:pPr>
                      <a:r>
                        <a:rPr lang="en-US" sz="2100" b="1" kern="1200" dirty="0" smtClean="0">
                          <a:gradFill>
                            <a:gsLst>
                              <a:gs pos="0">
                                <a:srgbClr val="FFFFFF"/>
                              </a:gs>
                              <a:gs pos="100000">
                                <a:srgbClr val="FFFFFF"/>
                              </a:gs>
                            </a:gsLst>
                            <a:lin ang="5400000" scaled="0"/>
                          </a:gradFill>
                          <a:latin typeface="+mj-lt"/>
                          <a:ea typeface="Segoe UI" pitchFamily="34" charset="0"/>
                          <a:cs typeface="Segoe UI" pitchFamily="34" charset="0"/>
                        </a:rPr>
                        <a:t>Passport</a:t>
                      </a:r>
                    </a:p>
                  </a:txBody>
                  <a:tcPr marL="137141" marR="137141" marT="68570" marB="68570" anchor="ctr">
                    <a:lnL w="9525" cap="flat" cmpd="sng" algn="ctr">
                      <a:no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BDF3"/>
                    </a:solidFill>
                  </a:tcPr>
                </a:tc>
                <a:tc>
                  <a:txBody>
                    <a:bodyPr/>
                    <a:lstStyle/>
                    <a:p>
                      <a:pPr marL="0" marR="0" indent="0" algn="l" defTabSz="932472" rtl="0" eaLnBrk="1" fontAlgn="base" latinLnBrk="0" hangingPunct="1">
                        <a:lnSpc>
                          <a:spcPct val="90000"/>
                        </a:lnSpc>
                        <a:spcBef>
                          <a:spcPct val="0"/>
                        </a:spcBef>
                        <a:spcAft>
                          <a:spcPct val="0"/>
                        </a:spcAft>
                        <a:buClrTx/>
                        <a:buSzTx/>
                        <a:buFontTx/>
                        <a:buNone/>
                        <a:tabLst/>
                        <a:defRPr/>
                      </a:pPr>
                      <a:r>
                        <a:rPr lang="en-US" sz="2100" b="0" kern="1200" baseline="0" dirty="0" smtClean="0">
                          <a:gradFill>
                            <a:gsLst>
                              <a:gs pos="0">
                                <a:srgbClr val="FFFFFF"/>
                              </a:gs>
                              <a:gs pos="100000">
                                <a:srgbClr val="FFFFFF"/>
                              </a:gs>
                            </a:gsLst>
                            <a:lin ang="5400000" scaled="0"/>
                          </a:gradFill>
                          <a:latin typeface="+mn-lt"/>
                          <a:ea typeface="Segoe UI" pitchFamily="34" charset="0"/>
                          <a:cs typeface="Segoe UI" pitchFamily="34" charset="0"/>
                        </a:rPr>
                        <a:t>Azure AD only</a:t>
                      </a:r>
                      <a:endParaRPr lang="en-US" sz="2100" b="0" kern="1200" dirty="0" smtClean="0">
                        <a:gradFill>
                          <a:gsLst>
                            <a:gs pos="0">
                              <a:srgbClr val="FFFFFF"/>
                            </a:gs>
                            <a:gs pos="100000">
                              <a:srgbClr val="FFFFFF"/>
                            </a:gs>
                          </a:gsLst>
                          <a:lin ang="5400000" scaled="0"/>
                        </a:gradFill>
                        <a:latin typeface="+mn-lt"/>
                        <a:ea typeface="Segoe UI" pitchFamily="34" charset="0"/>
                        <a:cs typeface="Segoe UI" pitchFamily="34" charset="0"/>
                      </a:endParaRPr>
                    </a:p>
                  </a:txBody>
                  <a:tcPr marL="137141" marR="137141" marT="68570" marB="68570"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BDF3"/>
                    </a:solidFill>
                  </a:tcPr>
                </a:tc>
              </a:tr>
              <a:tr h="1088061">
                <a:tc>
                  <a:txBody>
                    <a:bodyPr/>
                    <a:lstStyle/>
                    <a:p>
                      <a:r>
                        <a:rPr lang="en-US" sz="1500" dirty="0" smtClean="0"/>
                        <a:t>Key-based</a:t>
                      </a:r>
                      <a:endParaRPr lang="en-US" sz="1500" dirty="0"/>
                    </a:p>
                  </a:txBody>
                  <a:tcPr marL="137141" marR="137141" marT="68570" marB="68570"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a:spcBef>
                          <a:spcPts val="0"/>
                        </a:spcBef>
                        <a:spcAft>
                          <a:spcPts val="0"/>
                        </a:spcAft>
                      </a:pPr>
                      <a:r>
                        <a:rPr lang="en-US" sz="1500" kern="1200" dirty="0">
                          <a:solidFill>
                            <a:schemeClr val="dk1"/>
                          </a:solidFill>
                          <a:latin typeface="+mn-lt"/>
                          <a:ea typeface="+mn-ea"/>
                          <a:cs typeface="+mn-cs"/>
                        </a:rPr>
                        <a:t>AAD </a:t>
                      </a:r>
                      <a:r>
                        <a:rPr lang="en-US" sz="1500" kern="1200" dirty="0" smtClean="0">
                          <a:solidFill>
                            <a:schemeClr val="dk1"/>
                          </a:solidFill>
                          <a:latin typeface="+mn-lt"/>
                          <a:ea typeface="+mn-ea"/>
                          <a:cs typeface="+mn-cs"/>
                        </a:rPr>
                        <a:t>subscription</a:t>
                      </a:r>
                    </a:p>
                    <a:p>
                      <a:pPr marL="0" marR="0">
                        <a:spcBef>
                          <a:spcPts val="0"/>
                        </a:spcBef>
                        <a:spcAft>
                          <a:spcPts val="0"/>
                        </a:spcAft>
                      </a:pPr>
                      <a:endParaRPr lang="en-US" sz="1500" kern="1200" dirty="0" smtClean="0">
                        <a:solidFill>
                          <a:schemeClr val="dk1"/>
                        </a:solidFill>
                        <a:latin typeface="+mn-lt"/>
                        <a:ea typeface="+mn-ea"/>
                        <a:cs typeface="+mn-cs"/>
                      </a:endParaRPr>
                    </a:p>
                    <a:p>
                      <a:pPr marL="0" marR="0" indent="0" algn="l" defTabSz="699493" rtl="0" eaLnBrk="1" fontAlgn="auto" latinLnBrk="0" hangingPunct="1">
                        <a:lnSpc>
                          <a:spcPct val="100000"/>
                        </a:lnSpc>
                        <a:spcBef>
                          <a:spcPts val="0"/>
                        </a:spcBef>
                        <a:spcAft>
                          <a:spcPts val="0"/>
                        </a:spcAft>
                        <a:buClrTx/>
                        <a:buSzTx/>
                        <a:buFontTx/>
                        <a:buNone/>
                        <a:tabLst/>
                        <a:defRPr/>
                      </a:pPr>
                      <a:r>
                        <a:rPr lang="en-US" sz="1500" i="1" kern="1200" dirty="0" smtClean="0">
                          <a:solidFill>
                            <a:schemeClr val="dk1"/>
                          </a:solidFill>
                          <a:latin typeface="+mn-lt"/>
                          <a:ea typeface="+mn-ea"/>
                          <a:cs typeface="+mn-cs"/>
                        </a:rPr>
                        <a:t>3</a:t>
                      </a:r>
                      <a:r>
                        <a:rPr lang="en-US" sz="1500" i="1" kern="1200" baseline="30000" dirty="0" smtClean="0">
                          <a:solidFill>
                            <a:schemeClr val="dk1"/>
                          </a:solidFill>
                          <a:latin typeface="+mn-lt"/>
                          <a:ea typeface="+mn-ea"/>
                          <a:cs typeface="+mn-cs"/>
                        </a:rPr>
                        <a:t>rd</a:t>
                      </a:r>
                      <a:r>
                        <a:rPr lang="en-US" sz="1500" i="1" kern="1200" dirty="0" smtClean="0">
                          <a:solidFill>
                            <a:schemeClr val="dk1"/>
                          </a:solidFill>
                          <a:latin typeface="+mn-lt"/>
                          <a:ea typeface="+mn-ea"/>
                          <a:cs typeface="+mn-cs"/>
                        </a:rPr>
                        <a:t> Party</a:t>
                      </a:r>
                      <a:r>
                        <a:rPr lang="en-US" sz="1500" i="1" kern="1200" baseline="0" dirty="0" smtClean="0">
                          <a:solidFill>
                            <a:schemeClr val="dk1"/>
                          </a:solidFill>
                          <a:latin typeface="+mn-lt"/>
                          <a:ea typeface="+mn-ea"/>
                          <a:cs typeface="+mn-cs"/>
                        </a:rPr>
                        <a:t> </a:t>
                      </a:r>
                      <a:r>
                        <a:rPr lang="en-US" sz="1500" i="1" kern="1200" dirty="0" smtClean="0">
                          <a:solidFill>
                            <a:schemeClr val="dk1"/>
                          </a:solidFill>
                          <a:latin typeface="+mn-lt"/>
                          <a:ea typeface="+mn-ea"/>
                          <a:cs typeface="+mn-cs"/>
                        </a:rPr>
                        <a:t>MDM/Intune</a:t>
                      </a:r>
                    </a:p>
                    <a:p>
                      <a:pPr marL="0" marR="0">
                        <a:spcBef>
                          <a:spcPts val="0"/>
                        </a:spcBef>
                        <a:spcAft>
                          <a:spcPts val="0"/>
                        </a:spcAft>
                      </a:pPr>
                      <a:endParaRPr lang="en-US" sz="1500" kern="1200" dirty="0">
                        <a:solidFill>
                          <a:schemeClr val="dk1"/>
                        </a:solidFill>
                        <a:latin typeface="+mn-lt"/>
                        <a:ea typeface="+mn-ea"/>
                        <a:cs typeface="+mn-cs"/>
                      </a:endParaRPr>
                    </a:p>
                  </a:txBody>
                  <a:tcPr marL="51428" marR="51428" marT="0" marB="0"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r>
              <a:tr h="2534918">
                <a:tc>
                  <a:txBody>
                    <a:bodyPr/>
                    <a:lstStyle/>
                    <a:p>
                      <a:endParaRPr lang="en-US" sz="1500" dirty="0" smtClean="0"/>
                    </a:p>
                    <a:p>
                      <a:r>
                        <a:rPr lang="en-US" sz="1500" dirty="0" smtClean="0"/>
                        <a:t>Cert-based</a:t>
                      </a:r>
                      <a:endParaRPr lang="en-US" sz="1500" dirty="0"/>
                    </a:p>
                  </a:txBody>
                  <a:tcPr marL="137141" marR="137141" marT="68570" marB="68570"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a:spcBef>
                          <a:spcPts val="0"/>
                        </a:spcBef>
                        <a:spcAft>
                          <a:spcPts val="0"/>
                        </a:spcAft>
                      </a:pPr>
                      <a:endParaRPr lang="en-US" sz="1500" kern="1200" dirty="0" smtClean="0">
                        <a:solidFill>
                          <a:schemeClr val="dk1"/>
                        </a:solidFill>
                        <a:latin typeface="+mn-lt"/>
                        <a:ea typeface="+mn-ea"/>
                        <a:cs typeface="+mn-cs"/>
                      </a:endParaRPr>
                    </a:p>
                    <a:p>
                      <a:pPr marL="0" marR="0">
                        <a:spcBef>
                          <a:spcPts val="0"/>
                        </a:spcBef>
                        <a:spcAft>
                          <a:spcPts val="0"/>
                        </a:spcAft>
                      </a:pPr>
                      <a:r>
                        <a:rPr lang="en-US" sz="1500" kern="1200" dirty="0" smtClean="0">
                          <a:solidFill>
                            <a:schemeClr val="dk1"/>
                          </a:solidFill>
                          <a:latin typeface="+mn-lt"/>
                          <a:ea typeface="+mn-ea"/>
                          <a:cs typeface="+mn-cs"/>
                        </a:rPr>
                        <a:t>AAD </a:t>
                      </a:r>
                      <a:r>
                        <a:rPr lang="en-US" sz="1500" kern="1200" dirty="0">
                          <a:solidFill>
                            <a:schemeClr val="dk1"/>
                          </a:solidFill>
                          <a:latin typeface="+mn-lt"/>
                          <a:ea typeface="+mn-ea"/>
                          <a:cs typeface="+mn-cs"/>
                        </a:rPr>
                        <a:t>subscription</a:t>
                      </a:r>
                      <a:br>
                        <a:rPr lang="en-US" sz="1500" kern="1200" dirty="0">
                          <a:solidFill>
                            <a:schemeClr val="dk1"/>
                          </a:solidFill>
                          <a:latin typeface="+mn-lt"/>
                          <a:ea typeface="+mn-ea"/>
                          <a:cs typeface="+mn-cs"/>
                        </a:rPr>
                      </a:br>
                      <a:r>
                        <a:rPr lang="en-US" sz="1500" kern="1200" dirty="0">
                          <a:solidFill>
                            <a:schemeClr val="dk1"/>
                          </a:solidFill>
                          <a:latin typeface="+mn-lt"/>
                          <a:ea typeface="+mn-ea"/>
                          <a:cs typeface="+mn-cs"/>
                        </a:rPr>
                        <a:t>PKI </a:t>
                      </a:r>
                      <a:r>
                        <a:rPr lang="en-US" sz="1500" kern="1200" dirty="0" smtClean="0">
                          <a:solidFill>
                            <a:schemeClr val="dk1"/>
                          </a:solidFill>
                          <a:latin typeface="+mn-lt"/>
                          <a:ea typeface="+mn-ea"/>
                          <a:cs typeface="+mn-cs"/>
                        </a:rPr>
                        <a:t>infrastructure</a:t>
                      </a:r>
                    </a:p>
                    <a:p>
                      <a:pPr marL="0" marR="0">
                        <a:spcBef>
                          <a:spcPts val="0"/>
                        </a:spcBef>
                        <a:spcAft>
                          <a:spcPts val="0"/>
                        </a:spcAft>
                      </a:pPr>
                      <a:r>
                        <a:rPr lang="en-US" sz="1500" kern="1200" dirty="0">
                          <a:solidFill>
                            <a:schemeClr val="dk1"/>
                          </a:solidFill>
                          <a:latin typeface="+mn-lt"/>
                          <a:ea typeface="+mn-ea"/>
                          <a:cs typeface="+mn-cs"/>
                        </a:rPr>
                        <a:t/>
                      </a:r>
                      <a:br>
                        <a:rPr lang="en-US" sz="1500" kern="1200" dirty="0">
                          <a:solidFill>
                            <a:schemeClr val="dk1"/>
                          </a:solidFill>
                          <a:latin typeface="+mn-lt"/>
                          <a:ea typeface="+mn-ea"/>
                          <a:cs typeface="+mn-cs"/>
                        </a:rPr>
                      </a:br>
                      <a:r>
                        <a:rPr lang="en-US" sz="1500" i="1" kern="1200" dirty="0" smtClean="0">
                          <a:solidFill>
                            <a:schemeClr val="dk1"/>
                          </a:solidFill>
                          <a:latin typeface="+mn-lt"/>
                          <a:ea typeface="+mn-ea"/>
                          <a:cs typeface="+mn-cs"/>
                        </a:rPr>
                        <a:t>3</a:t>
                      </a:r>
                      <a:r>
                        <a:rPr lang="en-US" sz="1500" i="1" kern="1200" baseline="30000" dirty="0" smtClean="0">
                          <a:solidFill>
                            <a:schemeClr val="dk1"/>
                          </a:solidFill>
                          <a:latin typeface="+mn-lt"/>
                          <a:ea typeface="+mn-ea"/>
                          <a:cs typeface="+mn-cs"/>
                        </a:rPr>
                        <a:t>rd</a:t>
                      </a:r>
                      <a:r>
                        <a:rPr lang="en-US" sz="1500" i="1" kern="1200" dirty="0" smtClean="0">
                          <a:solidFill>
                            <a:schemeClr val="dk1"/>
                          </a:solidFill>
                          <a:latin typeface="+mn-lt"/>
                          <a:ea typeface="+mn-ea"/>
                          <a:cs typeface="+mn-cs"/>
                        </a:rPr>
                        <a:t> Party</a:t>
                      </a:r>
                      <a:r>
                        <a:rPr lang="en-US" sz="1500" i="1" kern="1200" baseline="0" dirty="0" smtClean="0">
                          <a:solidFill>
                            <a:schemeClr val="dk1"/>
                          </a:solidFill>
                          <a:latin typeface="+mn-lt"/>
                          <a:ea typeface="+mn-ea"/>
                          <a:cs typeface="+mn-cs"/>
                        </a:rPr>
                        <a:t> </a:t>
                      </a:r>
                      <a:r>
                        <a:rPr lang="en-US" sz="1500" i="1" kern="1200" dirty="0" smtClean="0">
                          <a:solidFill>
                            <a:schemeClr val="dk1"/>
                          </a:solidFill>
                          <a:latin typeface="+mn-lt"/>
                          <a:ea typeface="+mn-ea"/>
                          <a:cs typeface="+mn-cs"/>
                        </a:rPr>
                        <a:t>MDM/Intune</a:t>
                      </a:r>
                      <a:endParaRPr lang="en-US" sz="1500" i="1" kern="1200" dirty="0">
                        <a:solidFill>
                          <a:schemeClr val="dk1"/>
                        </a:solidFill>
                        <a:latin typeface="+mn-lt"/>
                        <a:ea typeface="+mn-ea"/>
                        <a:cs typeface="+mn-cs"/>
                      </a:endParaRPr>
                    </a:p>
                  </a:txBody>
                  <a:tcPr marL="51428" marR="51428" marT="0" marB="0"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r>
            </a:tbl>
          </a:graphicData>
        </a:graphic>
      </p:graphicFrame>
    </p:spTree>
    <p:extLst>
      <p:ext uri="{BB962C8B-B14F-4D97-AF65-F5344CB8AC3E}">
        <p14:creationId xmlns:p14="http://schemas.microsoft.com/office/powerpoint/2010/main" val="131684068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showMasterSp="0">
  <p:cSld>
    <p:bg>
      <p:bgPr>
        <a:solidFill>
          <a:schemeClr val="tx2">
            <a:lumMod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ployment requirements</a:t>
            </a:r>
            <a:br>
              <a:rPr lang="en-US" dirty="0" smtClean="0"/>
            </a:br>
            <a:r>
              <a:rPr lang="en-US" sz="2400" dirty="0"/>
              <a:t>Per Active Directory deployment configuration  </a:t>
            </a:r>
            <a:endParaRPr lang="en-US" sz="1350" dirty="0"/>
          </a:p>
        </p:txBody>
      </p:sp>
      <p:graphicFrame>
        <p:nvGraphicFramePr>
          <p:cNvPr id="6" name="Table 5"/>
          <p:cNvGraphicFramePr>
            <a:graphicFrameLocks noGrp="1"/>
          </p:cNvGraphicFramePr>
          <p:nvPr>
            <p:extLst/>
          </p:nvPr>
        </p:nvGraphicFramePr>
        <p:xfrm>
          <a:off x="1761171" y="2194442"/>
          <a:ext cx="7200266" cy="4046020"/>
        </p:xfrm>
        <a:graphic>
          <a:graphicData uri="http://schemas.openxmlformats.org/drawingml/2006/table">
            <a:tbl>
              <a:tblPr firstRow="1" bandRow="1">
                <a:tableStyleId>{5C22544A-7EE6-4342-B048-85BDC9FD1C3A}</a:tableStyleId>
              </a:tblPr>
              <a:tblGrid>
                <a:gridCol w="1722797"/>
                <a:gridCol w="2277069"/>
                <a:gridCol w="3200400"/>
              </a:tblGrid>
              <a:tr h="540820">
                <a:tc>
                  <a:txBody>
                    <a:bodyPr/>
                    <a:lstStyle/>
                    <a:p>
                      <a:pPr defTabSz="932472" fontAlgn="base">
                        <a:lnSpc>
                          <a:spcPct val="90000"/>
                        </a:lnSpc>
                        <a:spcBef>
                          <a:spcPct val="0"/>
                        </a:spcBef>
                        <a:spcAft>
                          <a:spcPct val="0"/>
                        </a:spcAft>
                      </a:pPr>
                      <a:r>
                        <a:rPr lang="en-US" sz="2100" b="1" kern="1200" dirty="0" smtClean="0">
                          <a:gradFill>
                            <a:gsLst>
                              <a:gs pos="0">
                                <a:srgbClr val="FFFFFF"/>
                              </a:gs>
                              <a:gs pos="100000">
                                <a:srgbClr val="FFFFFF"/>
                              </a:gs>
                            </a:gsLst>
                            <a:lin ang="5400000" scaled="0"/>
                          </a:gradFill>
                          <a:latin typeface="+mj-lt"/>
                          <a:ea typeface="Segoe UI" pitchFamily="34" charset="0"/>
                          <a:cs typeface="Segoe UI" pitchFamily="34" charset="0"/>
                        </a:rPr>
                        <a:t>Passport</a:t>
                      </a:r>
                    </a:p>
                  </a:txBody>
                  <a:tcPr marL="137141" marR="137141" marT="68570" marB="68570" anchor="ctr">
                    <a:lnL w="9525" cap="flat" cmpd="sng" algn="ctr">
                      <a:no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BDF3"/>
                    </a:solidFill>
                  </a:tcPr>
                </a:tc>
                <a:tc>
                  <a:txBody>
                    <a:bodyPr/>
                    <a:lstStyle/>
                    <a:p>
                      <a:pPr marL="0" marR="0" indent="0" algn="l" defTabSz="932472" rtl="0" eaLnBrk="1" fontAlgn="base" latinLnBrk="0" hangingPunct="1">
                        <a:lnSpc>
                          <a:spcPct val="90000"/>
                        </a:lnSpc>
                        <a:spcBef>
                          <a:spcPct val="0"/>
                        </a:spcBef>
                        <a:spcAft>
                          <a:spcPct val="0"/>
                        </a:spcAft>
                        <a:buClrTx/>
                        <a:buSzTx/>
                        <a:buFontTx/>
                        <a:buNone/>
                        <a:tabLst/>
                        <a:defRPr/>
                      </a:pPr>
                      <a:r>
                        <a:rPr lang="en-US" sz="2100" b="0" kern="1200" baseline="0" dirty="0" smtClean="0">
                          <a:gradFill>
                            <a:gsLst>
                              <a:gs pos="0">
                                <a:srgbClr val="FFFFFF"/>
                              </a:gs>
                              <a:gs pos="100000">
                                <a:srgbClr val="FFFFFF"/>
                              </a:gs>
                            </a:gsLst>
                            <a:lin ang="5400000" scaled="0"/>
                          </a:gradFill>
                          <a:latin typeface="+mn-lt"/>
                          <a:ea typeface="Segoe UI" pitchFamily="34" charset="0"/>
                          <a:cs typeface="Segoe UI" pitchFamily="34" charset="0"/>
                        </a:rPr>
                        <a:t>Azure AD only</a:t>
                      </a:r>
                      <a:endParaRPr lang="en-US" sz="2100" b="1" kern="1200" dirty="0">
                        <a:gradFill>
                          <a:gsLst>
                            <a:gs pos="0">
                              <a:srgbClr val="FFFFFF"/>
                            </a:gs>
                            <a:gs pos="100000">
                              <a:srgbClr val="FFFFFF"/>
                            </a:gs>
                          </a:gsLst>
                          <a:lin ang="5400000" scaled="0"/>
                        </a:gradFill>
                        <a:latin typeface="+mj-lt"/>
                        <a:ea typeface="Segoe UI" pitchFamily="34" charset="0"/>
                        <a:cs typeface="Segoe UI" pitchFamily="34" charset="0"/>
                      </a:endParaRPr>
                    </a:p>
                  </a:txBody>
                  <a:tcPr marL="137141" marR="137141" marT="68570" marB="68570"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BDF3"/>
                    </a:solidFill>
                  </a:tcPr>
                </a:tc>
                <a:tc>
                  <a:txBody>
                    <a:bodyPr/>
                    <a:lstStyle/>
                    <a:p>
                      <a:pPr marL="0" algn="l" defTabSz="932472" rtl="0" eaLnBrk="1" fontAlgn="base" latinLnBrk="0" hangingPunct="1">
                        <a:lnSpc>
                          <a:spcPct val="90000"/>
                        </a:lnSpc>
                        <a:spcBef>
                          <a:spcPct val="0"/>
                        </a:spcBef>
                        <a:spcAft>
                          <a:spcPct val="0"/>
                        </a:spcAft>
                      </a:pPr>
                      <a:r>
                        <a:rPr lang="en-US" sz="2100" b="0" kern="1200" dirty="0" smtClean="0">
                          <a:gradFill>
                            <a:gsLst>
                              <a:gs pos="0">
                                <a:srgbClr val="FFFFFF"/>
                              </a:gs>
                              <a:gs pos="100000">
                                <a:srgbClr val="FFFFFF"/>
                              </a:gs>
                            </a:gsLst>
                            <a:lin ang="5400000" scaled="0"/>
                          </a:gradFill>
                          <a:latin typeface="+mn-lt"/>
                          <a:ea typeface="Segoe UI" pitchFamily="34" charset="0"/>
                          <a:cs typeface="Segoe UI" pitchFamily="34" charset="0"/>
                        </a:rPr>
                        <a:t>Hybrid AD</a:t>
                      </a:r>
                    </a:p>
                  </a:txBody>
                  <a:tcPr marL="137141" marR="137141" marT="68570" marB="68570"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BDF3"/>
                    </a:solidFill>
                  </a:tcPr>
                </a:tc>
              </a:tr>
              <a:tr h="1608161">
                <a:tc>
                  <a:txBody>
                    <a:bodyPr/>
                    <a:lstStyle/>
                    <a:p>
                      <a:r>
                        <a:rPr lang="en-US" sz="1500" dirty="0" smtClean="0"/>
                        <a:t>Key-based</a:t>
                      </a:r>
                      <a:endParaRPr lang="en-US" sz="1500" dirty="0"/>
                    </a:p>
                  </a:txBody>
                  <a:tcPr marL="137141" marR="137141" marT="68570" marB="68570"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a:spcBef>
                          <a:spcPts val="0"/>
                        </a:spcBef>
                        <a:spcAft>
                          <a:spcPts val="0"/>
                        </a:spcAft>
                      </a:pPr>
                      <a:r>
                        <a:rPr lang="en-US" sz="1500" kern="1200" dirty="0">
                          <a:solidFill>
                            <a:schemeClr val="dk1"/>
                          </a:solidFill>
                          <a:latin typeface="+mn-lt"/>
                          <a:ea typeface="+mn-ea"/>
                          <a:cs typeface="+mn-cs"/>
                        </a:rPr>
                        <a:t>AAD </a:t>
                      </a:r>
                      <a:r>
                        <a:rPr lang="en-US" sz="1500" kern="1200" dirty="0" smtClean="0">
                          <a:solidFill>
                            <a:schemeClr val="dk1"/>
                          </a:solidFill>
                          <a:latin typeface="+mn-lt"/>
                          <a:ea typeface="+mn-ea"/>
                          <a:cs typeface="+mn-cs"/>
                        </a:rPr>
                        <a:t>subscription</a:t>
                      </a:r>
                    </a:p>
                    <a:p>
                      <a:pPr marL="0" marR="0" indent="0" algn="l" defTabSz="699493" rtl="0" eaLnBrk="1" fontAlgn="auto" latinLnBrk="0" hangingPunct="1">
                        <a:lnSpc>
                          <a:spcPct val="100000"/>
                        </a:lnSpc>
                        <a:spcBef>
                          <a:spcPts val="0"/>
                        </a:spcBef>
                        <a:spcAft>
                          <a:spcPts val="0"/>
                        </a:spcAft>
                        <a:buClrTx/>
                        <a:buSzTx/>
                        <a:buFontTx/>
                        <a:buNone/>
                        <a:tabLst/>
                        <a:defRPr/>
                      </a:pPr>
                      <a:endParaRPr lang="en-US" sz="1500" i="1" kern="1200" dirty="0" smtClean="0">
                        <a:solidFill>
                          <a:schemeClr val="dk1"/>
                        </a:solidFill>
                        <a:latin typeface="+mn-lt"/>
                        <a:ea typeface="+mn-ea"/>
                        <a:cs typeface="+mn-cs"/>
                      </a:endParaRPr>
                    </a:p>
                    <a:p>
                      <a:pPr marL="0" marR="0" indent="0" algn="l" defTabSz="699493" rtl="0" eaLnBrk="1" fontAlgn="auto" latinLnBrk="0" hangingPunct="1">
                        <a:lnSpc>
                          <a:spcPct val="100000"/>
                        </a:lnSpc>
                        <a:spcBef>
                          <a:spcPts val="0"/>
                        </a:spcBef>
                        <a:spcAft>
                          <a:spcPts val="0"/>
                        </a:spcAft>
                        <a:buClrTx/>
                        <a:buSzTx/>
                        <a:buFontTx/>
                        <a:buNone/>
                        <a:tabLst/>
                        <a:defRPr/>
                      </a:pPr>
                      <a:endParaRPr lang="en-US" sz="1500" i="1" kern="1200" dirty="0" smtClean="0">
                        <a:solidFill>
                          <a:schemeClr val="dk1"/>
                        </a:solidFill>
                        <a:latin typeface="+mn-lt"/>
                        <a:ea typeface="+mn-ea"/>
                        <a:cs typeface="+mn-cs"/>
                      </a:endParaRPr>
                    </a:p>
                    <a:p>
                      <a:pPr marL="0" marR="0" indent="0" algn="l" defTabSz="699493" rtl="0" eaLnBrk="1" fontAlgn="auto" latinLnBrk="0" hangingPunct="1">
                        <a:lnSpc>
                          <a:spcPct val="100000"/>
                        </a:lnSpc>
                        <a:spcBef>
                          <a:spcPts val="0"/>
                        </a:spcBef>
                        <a:spcAft>
                          <a:spcPts val="0"/>
                        </a:spcAft>
                        <a:buClrTx/>
                        <a:buSzTx/>
                        <a:buFontTx/>
                        <a:buNone/>
                        <a:tabLst/>
                        <a:defRPr/>
                      </a:pPr>
                      <a:r>
                        <a:rPr lang="en-US" sz="1500" i="1" kern="1200" dirty="0" smtClean="0">
                          <a:solidFill>
                            <a:schemeClr val="dk1"/>
                          </a:solidFill>
                          <a:latin typeface="+mn-lt"/>
                          <a:ea typeface="+mn-ea"/>
                          <a:cs typeface="+mn-cs"/>
                        </a:rPr>
                        <a:t>3</a:t>
                      </a:r>
                      <a:r>
                        <a:rPr lang="en-US" sz="1500" i="1" kern="1200" baseline="30000" dirty="0" smtClean="0">
                          <a:solidFill>
                            <a:schemeClr val="dk1"/>
                          </a:solidFill>
                          <a:latin typeface="+mn-lt"/>
                          <a:ea typeface="+mn-ea"/>
                          <a:cs typeface="+mn-cs"/>
                        </a:rPr>
                        <a:t>rd</a:t>
                      </a:r>
                      <a:r>
                        <a:rPr lang="en-US" sz="1500" i="1" kern="1200" dirty="0" smtClean="0">
                          <a:solidFill>
                            <a:schemeClr val="dk1"/>
                          </a:solidFill>
                          <a:latin typeface="+mn-lt"/>
                          <a:ea typeface="+mn-ea"/>
                          <a:cs typeface="+mn-cs"/>
                        </a:rPr>
                        <a:t> Party</a:t>
                      </a:r>
                      <a:r>
                        <a:rPr lang="en-US" sz="1500" i="1" kern="1200" baseline="0" dirty="0" smtClean="0">
                          <a:solidFill>
                            <a:schemeClr val="dk1"/>
                          </a:solidFill>
                          <a:latin typeface="+mn-lt"/>
                          <a:ea typeface="+mn-ea"/>
                          <a:cs typeface="+mn-cs"/>
                        </a:rPr>
                        <a:t> </a:t>
                      </a:r>
                      <a:r>
                        <a:rPr lang="en-US" sz="1500" i="1" kern="1200" dirty="0" smtClean="0">
                          <a:solidFill>
                            <a:schemeClr val="dk1"/>
                          </a:solidFill>
                          <a:latin typeface="+mn-lt"/>
                          <a:ea typeface="+mn-ea"/>
                          <a:cs typeface="+mn-cs"/>
                        </a:rPr>
                        <a:t>MDM/Intune</a:t>
                      </a:r>
                    </a:p>
                    <a:p>
                      <a:pPr marL="0" marR="0">
                        <a:spcBef>
                          <a:spcPts val="0"/>
                        </a:spcBef>
                        <a:spcAft>
                          <a:spcPts val="0"/>
                        </a:spcAft>
                      </a:pPr>
                      <a:endParaRPr lang="en-US" sz="1500" kern="1200" dirty="0">
                        <a:solidFill>
                          <a:schemeClr val="dk1"/>
                        </a:solidFill>
                        <a:latin typeface="+mn-lt"/>
                        <a:ea typeface="+mn-ea"/>
                        <a:cs typeface="+mn-cs"/>
                      </a:endParaRPr>
                    </a:p>
                  </a:txBody>
                  <a:tcPr marL="51428" marR="51428" marT="0" marB="0"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a:spcBef>
                          <a:spcPts val="0"/>
                        </a:spcBef>
                        <a:spcAft>
                          <a:spcPts val="0"/>
                        </a:spcAft>
                      </a:pPr>
                      <a:r>
                        <a:rPr lang="en-US" sz="1500" kern="1200" dirty="0">
                          <a:solidFill>
                            <a:schemeClr val="dk1"/>
                          </a:solidFill>
                          <a:latin typeface="+mn-lt"/>
                          <a:ea typeface="+mn-ea"/>
                          <a:cs typeface="+mn-cs"/>
                        </a:rPr>
                        <a:t>AAD subscription</a:t>
                      </a:r>
                      <a:br>
                        <a:rPr lang="en-US" sz="1500" kern="1200" dirty="0">
                          <a:solidFill>
                            <a:schemeClr val="dk1"/>
                          </a:solidFill>
                          <a:latin typeface="+mn-lt"/>
                          <a:ea typeface="+mn-ea"/>
                          <a:cs typeface="+mn-cs"/>
                        </a:rPr>
                      </a:br>
                      <a:r>
                        <a:rPr lang="en-US" sz="1500" kern="1200" dirty="0">
                          <a:solidFill>
                            <a:schemeClr val="dk1"/>
                          </a:solidFill>
                          <a:latin typeface="+mn-lt"/>
                          <a:ea typeface="+mn-ea"/>
                          <a:cs typeface="+mn-cs"/>
                        </a:rPr>
                        <a:t>AAD Sync w/ </a:t>
                      </a:r>
                      <a:r>
                        <a:rPr lang="en-US" sz="1500" kern="1200" dirty="0" smtClean="0">
                          <a:solidFill>
                            <a:schemeClr val="dk1"/>
                          </a:solidFill>
                          <a:latin typeface="+mn-lt"/>
                          <a:ea typeface="+mn-ea"/>
                          <a:cs typeface="+mn-cs"/>
                        </a:rPr>
                        <a:t>Public </a:t>
                      </a:r>
                      <a:r>
                        <a:rPr lang="en-US" sz="1500" kern="1200" dirty="0">
                          <a:solidFill>
                            <a:schemeClr val="dk1"/>
                          </a:solidFill>
                          <a:latin typeface="+mn-lt"/>
                          <a:ea typeface="+mn-ea"/>
                          <a:cs typeface="+mn-cs"/>
                        </a:rPr>
                        <a:t>key </a:t>
                      </a:r>
                      <a:r>
                        <a:rPr lang="en-US" sz="1500" kern="1200" dirty="0" smtClean="0">
                          <a:solidFill>
                            <a:schemeClr val="dk1"/>
                          </a:solidFill>
                          <a:latin typeface="+mn-lt"/>
                          <a:ea typeface="+mn-ea"/>
                          <a:cs typeface="+mn-cs"/>
                        </a:rPr>
                        <a:t>write-back</a:t>
                      </a:r>
                    </a:p>
                    <a:p>
                      <a:pPr marL="0" marR="0" indent="0" algn="l" defTabSz="699493" rtl="0" eaLnBrk="1" fontAlgn="auto" latinLnBrk="0" hangingPunct="1">
                        <a:lnSpc>
                          <a:spcPct val="100000"/>
                        </a:lnSpc>
                        <a:spcBef>
                          <a:spcPts val="0"/>
                        </a:spcBef>
                        <a:spcAft>
                          <a:spcPts val="0"/>
                        </a:spcAft>
                        <a:buClrTx/>
                        <a:buSzTx/>
                        <a:buFontTx/>
                        <a:buNone/>
                        <a:tabLst/>
                        <a:defRPr/>
                      </a:pPr>
                      <a:endParaRPr lang="en-US" sz="1500" i="1" kern="1200" dirty="0" smtClean="0">
                        <a:solidFill>
                          <a:schemeClr val="dk1"/>
                        </a:solidFill>
                        <a:latin typeface="+mn-lt"/>
                        <a:ea typeface="+mn-ea"/>
                        <a:cs typeface="+mn-cs"/>
                      </a:endParaRPr>
                    </a:p>
                    <a:p>
                      <a:pPr marL="0" marR="0" indent="0" algn="l" defTabSz="699493" rtl="0" eaLnBrk="1" fontAlgn="auto" latinLnBrk="0" hangingPunct="1">
                        <a:lnSpc>
                          <a:spcPct val="100000"/>
                        </a:lnSpc>
                        <a:spcBef>
                          <a:spcPts val="0"/>
                        </a:spcBef>
                        <a:spcAft>
                          <a:spcPts val="0"/>
                        </a:spcAft>
                        <a:buClrTx/>
                        <a:buSzTx/>
                        <a:buFontTx/>
                        <a:buNone/>
                        <a:tabLst/>
                        <a:defRPr/>
                      </a:pPr>
                      <a:r>
                        <a:rPr lang="en-US" sz="1500" i="1" kern="1200" dirty="0" smtClean="0">
                          <a:solidFill>
                            <a:schemeClr val="dk1"/>
                          </a:solidFill>
                          <a:latin typeface="+mn-lt"/>
                          <a:ea typeface="+mn-ea"/>
                          <a:cs typeface="+mn-cs"/>
                        </a:rPr>
                        <a:t>3</a:t>
                      </a:r>
                      <a:r>
                        <a:rPr lang="en-US" sz="1500" i="1" kern="1200" baseline="30000" dirty="0" smtClean="0">
                          <a:solidFill>
                            <a:schemeClr val="dk1"/>
                          </a:solidFill>
                          <a:latin typeface="+mn-lt"/>
                          <a:ea typeface="+mn-ea"/>
                          <a:cs typeface="+mn-cs"/>
                        </a:rPr>
                        <a:t>rd</a:t>
                      </a:r>
                      <a:r>
                        <a:rPr lang="en-US" sz="1500" i="1" kern="1200" dirty="0" smtClean="0">
                          <a:solidFill>
                            <a:schemeClr val="dk1"/>
                          </a:solidFill>
                          <a:latin typeface="+mn-lt"/>
                          <a:ea typeface="+mn-ea"/>
                          <a:cs typeface="+mn-cs"/>
                        </a:rPr>
                        <a:t> Party</a:t>
                      </a:r>
                      <a:r>
                        <a:rPr lang="en-US" sz="1500" i="1" kern="1200" baseline="0" dirty="0" smtClean="0">
                          <a:solidFill>
                            <a:schemeClr val="dk1"/>
                          </a:solidFill>
                          <a:latin typeface="+mn-lt"/>
                          <a:ea typeface="+mn-ea"/>
                          <a:cs typeface="+mn-cs"/>
                        </a:rPr>
                        <a:t> </a:t>
                      </a:r>
                      <a:r>
                        <a:rPr lang="en-US" sz="1500" i="1" kern="1200" dirty="0" smtClean="0">
                          <a:solidFill>
                            <a:schemeClr val="dk1"/>
                          </a:solidFill>
                          <a:latin typeface="+mn-lt"/>
                          <a:ea typeface="+mn-ea"/>
                          <a:cs typeface="+mn-cs"/>
                        </a:rPr>
                        <a:t>MDM/Intune</a:t>
                      </a:r>
                    </a:p>
                    <a:p>
                      <a:pPr marL="0" marR="0">
                        <a:spcBef>
                          <a:spcPts val="0"/>
                        </a:spcBef>
                        <a:spcAft>
                          <a:spcPts val="0"/>
                        </a:spcAft>
                      </a:pPr>
                      <a:endParaRPr lang="en-US" sz="1500" kern="1200" dirty="0">
                        <a:solidFill>
                          <a:schemeClr val="dk1"/>
                        </a:solidFill>
                        <a:latin typeface="+mn-lt"/>
                        <a:ea typeface="+mn-ea"/>
                        <a:cs typeface="+mn-cs"/>
                      </a:endParaRPr>
                    </a:p>
                  </a:txBody>
                  <a:tcPr marL="51428" marR="51428" marT="0" marB="0"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r>
              <a:tr h="1897039">
                <a:tc>
                  <a:txBody>
                    <a:bodyPr/>
                    <a:lstStyle/>
                    <a:p>
                      <a:r>
                        <a:rPr lang="en-US" sz="1500" dirty="0" smtClean="0"/>
                        <a:t>Cert-based</a:t>
                      </a:r>
                      <a:endParaRPr lang="en-US" sz="1500" dirty="0"/>
                    </a:p>
                  </a:txBody>
                  <a:tcPr marL="137141" marR="137141" marT="68570" marB="68570"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a:spcBef>
                          <a:spcPts val="0"/>
                        </a:spcBef>
                        <a:spcAft>
                          <a:spcPts val="0"/>
                        </a:spcAft>
                      </a:pPr>
                      <a:r>
                        <a:rPr lang="en-US" sz="1500" kern="1200" dirty="0">
                          <a:solidFill>
                            <a:schemeClr val="dk1"/>
                          </a:solidFill>
                          <a:latin typeface="+mn-lt"/>
                          <a:ea typeface="+mn-ea"/>
                          <a:cs typeface="+mn-cs"/>
                        </a:rPr>
                        <a:t>AAD subscription</a:t>
                      </a:r>
                      <a:br>
                        <a:rPr lang="en-US" sz="1500" kern="1200" dirty="0">
                          <a:solidFill>
                            <a:schemeClr val="dk1"/>
                          </a:solidFill>
                          <a:latin typeface="+mn-lt"/>
                          <a:ea typeface="+mn-ea"/>
                          <a:cs typeface="+mn-cs"/>
                        </a:rPr>
                      </a:br>
                      <a:r>
                        <a:rPr lang="en-US" sz="1500" kern="1200" dirty="0">
                          <a:solidFill>
                            <a:schemeClr val="dk1"/>
                          </a:solidFill>
                          <a:latin typeface="+mn-lt"/>
                          <a:ea typeface="+mn-ea"/>
                          <a:cs typeface="+mn-cs"/>
                        </a:rPr>
                        <a:t>PKI infrastructure</a:t>
                      </a:r>
                      <a:br>
                        <a:rPr lang="en-US" sz="1500" kern="1200" dirty="0">
                          <a:solidFill>
                            <a:schemeClr val="dk1"/>
                          </a:solidFill>
                          <a:latin typeface="+mn-lt"/>
                          <a:ea typeface="+mn-ea"/>
                          <a:cs typeface="+mn-cs"/>
                        </a:rPr>
                      </a:br>
                      <a:endParaRPr lang="en-US" sz="1500" kern="1200" dirty="0" smtClean="0">
                        <a:solidFill>
                          <a:schemeClr val="dk1"/>
                        </a:solidFill>
                        <a:latin typeface="+mn-lt"/>
                        <a:ea typeface="+mn-ea"/>
                        <a:cs typeface="+mn-cs"/>
                      </a:endParaRPr>
                    </a:p>
                    <a:p>
                      <a:pPr marL="0" marR="0">
                        <a:spcBef>
                          <a:spcPts val="0"/>
                        </a:spcBef>
                        <a:spcAft>
                          <a:spcPts val="0"/>
                        </a:spcAft>
                      </a:pPr>
                      <a:r>
                        <a:rPr lang="en-US" sz="1500" i="1" kern="1200" dirty="0" smtClean="0">
                          <a:solidFill>
                            <a:schemeClr val="dk1"/>
                          </a:solidFill>
                          <a:latin typeface="+mn-lt"/>
                          <a:ea typeface="+mn-ea"/>
                          <a:cs typeface="+mn-cs"/>
                        </a:rPr>
                        <a:t>3</a:t>
                      </a:r>
                      <a:r>
                        <a:rPr lang="en-US" sz="1500" i="1" kern="1200" baseline="30000" dirty="0" smtClean="0">
                          <a:solidFill>
                            <a:schemeClr val="dk1"/>
                          </a:solidFill>
                          <a:latin typeface="+mn-lt"/>
                          <a:ea typeface="+mn-ea"/>
                          <a:cs typeface="+mn-cs"/>
                        </a:rPr>
                        <a:t>rd</a:t>
                      </a:r>
                      <a:r>
                        <a:rPr lang="en-US" sz="1500" i="1" kern="1200" dirty="0" smtClean="0">
                          <a:solidFill>
                            <a:schemeClr val="dk1"/>
                          </a:solidFill>
                          <a:latin typeface="+mn-lt"/>
                          <a:ea typeface="+mn-ea"/>
                          <a:cs typeface="+mn-cs"/>
                        </a:rPr>
                        <a:t> Party</a:t>
                      </a:r>
                      <a:r>
                        <a:rPr lang="en-US" sz="1500" i="1" kern="1200" baseline="0" dirty="0" smtClean="0">
                          <a:solidFill>
                            <a:schemeClr val="dk1"/>
                          </a:solidFill>
                          <a:latin typeface="+mn-lt"/>
                          <a:ea typeface="+mn-ea"/>
                          <a:cs typeface="+mn-cs"/>
                        </a:rPr>
                        <a:t> </a:t>
                      </a:r>
                      <a:r>
                        <a:rPr lang="en-US" sz="1500" i="1" kern="1200" dirty="0" smtClean="0">
                          <a:solidFill>
                            <a:schemeClr val="dk1"/>
                          </a:solidFill>
                          <a:latin typeface="+mn-lt"/>
                          <a:ea typeface="+mn-ea"/>
                          <a:cs typeface="+mn-cs"/>
                        </a:rPr>
                        <a:t>MDM/Intune</a:t>
                      </a:r>
                      <a:endParaRPr lang="en-US" sz="1500" i="1" kern="1200" dirty="0">
                        <a:solidFill>
                          <a:schemeClr val="dk1"/>
                        </a:solidFill>
                        <a:latin typeface="+mn-lt"/>
                        <a:ea typeface="+mn-ea"/>
                        <a:cs typeface="+mn-cs"/>
                      </a:endParaRPr>
                    </a:p>
                  </a:txBody>
                  <a:tcPr marL="51428" marR="51428" marT="0" marB="0"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a:spcBef>
                          <a:spcPts val="0"/>
                        </a:spcBef>
                        <a:spcAft>
                          <a:spcPts val="0"/>
                        </a:spcAft>
                      </a:pPr>
                      <a:r>
                        <a:rPr lang="en-US" sz="1500" kern="1200" dirty="0">
                          <a:solidFill>
                            <a:schemeClr val="dk1"/>
                          </a:solidFill>
                          <a:latin typeface="+mn-lt"/>
                          <a:ea typeface="+mn-ea"/>
                          <a:cs typeface="+mn-cs"/>
                        </a:rPr>
                        <a:t>AAD subscription</a:t>
                      </a:r>
                      <a:br>
                        <a:rPr lang="en-US" sz="1500" kern="1200" dirty="0">
                          <a:solidFill>
                            <a:schemeClr val="dk1"/>
                          </a:solidFill>
                          <a:latin typeface="+mn-lt"/>
                          <a:ea typeface="+mn-ea"/>
                          <a:cs typeface="+mn-cs"/>
                        </a:rPr>
                      </a:br>
                      <a:r>
                        <a:rPr lang="en-US" sz="1500" kern="1200" dirty="0">
                          <a:solidFill>
                            <a:schemeClr val="dk1"/>
                          </a:solidFill>
                          <a:latin typeface="+mn-lt"/>
                          <a:ea typeface="+mn-ea"/>
                          <a:cs typeface="+mn-cs"/>
                        </a:rPr>
                        <a:t>PKI infrastructure</a:t>
                      </a:r>
                      <a:br>
                        <a:rPr lang="en-US" sz="1500" kern="1200" dirty="0">
                          <a:solidFill>
                            <a:schemeClr val="dk1"/>
                          </a:solidFill>
                          <a:latin typeface="+mn-lt"/>
                          <a:ea typeface="+mn-ea"/>
                          <a:cs typeface="+mn-cs"/>
                        </a:rPr>
                      </a:br>
                      <a:endParaRPr lang="en-US" sz="1500" kern="1200" dirty="0" smtClean="0">
                        <a:solidFill>
                          <a:schemeClr val="dk1"/>
                        </a:solidFill>
                        <a:latin typeface="+mn-lt"/>
                        <a:ea typeface="+mn-ea"/>
                        <a:cs typeface="+mn-cs"/>
                      </a:endParaRPr>
                    </a:p>
                    <a:p>
                      <a:pPr marL="0" marR="0">
                        <a:spcBef>
                          <a:spcPts val="0"/>
                        </a:spcBef>
                        <a:spcAft>
                          <a:spcPts val="0"/>
                        </a:spcAft>
                      </a:pPr>
                      <a:r>
                        <a:rPr lang="en-US" sz="1500" i="1" kern="1200" dirty="0" smtClean="0">
                          <a:solidFill>
                            <a:schemeClr val="dk1"/>
                          </a:solidFill>
                          <a:latin typeface="+mn-lt"/>
                          <a:ea typeface="+mn-ea"/>
                          <a:cs typeface="+mn-cs"/>
                        </a:rPr>
                        <a:t>SCCM 2012R2 SP2/2015</a:t>
                      </a:r>
                    </a:p>
                    <a:p>
                      <a:pPr marL="0" marR="0" indent="0" algn="l" defTabSz="699493" rtl="0" eaLnBrk="1" fontAlgn="auto" latinLnBrk="0" hangingPunct="1">
                        <a:lnSpc>
                          <a:spcPct val="100000"/>
                        </a:lnSpc>
                        <a:spcBef>
                          <a:spcPts val="0"/>
                        </a:spcBef>
                        <a:spcAft>
                          <a:spcPts val="0"/>
                        </a:spcAft>
                        <a:buClrTx/>
                        <a:buSzTx/>
                        <a:buFontTx/>
                        <a:buNone/>
                        <a:tabLst/>
                        <a:defRPr/>
                      </a:pPr>
                      <a:r>
                        <a:rPr lang="en-US" sz="1500" kern="1200" dirty="0" smtClean="0">
                          <a:solidFill>
                            <a:schemeClr val="dk1"/>
                          </a:solidFill>
                          <a:latin typeface="+mn-lt"/>
                          <a:ea typeface="+mn-ea"/>
                          <a:cs typeface="+mn-cs"/>
                        </a:rPr>
                        <a:t>3</a:t>
                      </a:r>
                      <a:r>
                        <a:rPr lang="en-US" sz="1500" kern="1200" baseline="30000" dirty="0" smtClean="0">
                          <a:solidFill>
                            <a:schemeClr val="dk1"/>
                          </a:solidFill>
                          <a:latin typeface="+mn-lt"/>
                          <a:ea typeface="+mn-ea"/>
                          <a:cs typeface="+mn-cs"/>
                        </a:rPr>
                        <a:t>rd</a:t>
                      </a:r>
                      <a:r>
                        <a:rPr lang="en-US" sz="1500" kern="1200" dirty="0" smtClean="0">
                          <a:solidFill>
                            <a:schemeClr val="dk1"/>
                          </a:solidFill>
                          <a:latin typeface="+mn-lt"/>
                          <a:ea typeface="+mn-ea"/>
                          <a:cs typeface="+mn-cs"/>
                        </a:rPr>
                        <a:t> Party</a:t>
                      </a:r>
                      <a:r>
                        <a:rPr lang="en-US" sz="1500" kern="1200" baseline="0" dirty="0" smtClean="0">
                          <a:solidFill>
                            <a:schemeClr val="dk1"/>
                          </a:solidFill>
                          <a:latin typeface="+mn-lt"/>
                          <a:ea typeface="+mn-ea"/>
                          <a:cs typeface="+mn-cs"/>
                        </a:rPr>
                        <a:t> </a:t>
                      </a:r>
                      <a:r>
                        <a:rPr lang="en-US" sz="1500" kern="1200" dirty="0" smtClean="0">
                          <a:solidFill>
                            <a:schemeClr val="dk1"/>
                          </a:solidFill>
                          <a:latin typeface="+mn-lt"/>
                          <a:ea typeface="+mn-ea"/>
                          <a:cs typeface="+mn-cs"/>
                        </a:rPr>
                        <a:t>MDM/Intune</a:t>
                      </a:r>
                      <a:endParaRPr lang="en-US" sz="1500" b="1" kern="1200" dirty="0">
                        <a:solidFill>
                          <a:schemeClr val="dk1"/>
                        </a:solidFill>
                        <a:latin typeface="+mn-lt"/>
                        <a:ea typeface="+mn-ea"/>
                        <a:cs typeface="+mn-cs"/>
                      </a:endParaRPr>
                    </a:p>
                  </a:txBody>
                  <a:tcPr marL="51428" marR="51428" marT="0" marB="0"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r>
            </a:tbl>
          </a:graphicData>
        </a:graphic>
      </p:graphicFrame>
    </p:spTree>
    <p:extLst>
      <p:ext uri="{BB962C8B-B14F-4D97-AF65-F5344CB8AC3E}">
        <p14:creationId xmlns:p14="http://schemas.microsoft.com/office/powerpoint/2010/main" val="289674783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showMasterSp="0">
  <p:cSld>
    <p:bg>
      <p:bgPr>
        <a:solidFill>
          <a:schemeClr val="tx2">
            <a:lumMod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ployment requirements</a:t>
            </a:r>
            <a:br>
              <a:rPr lang="en-US" dirty="0" smtClean="0"/>
            </a:br>
            <a:r>
              <a:rPr lang="en-US" sz="2400" dirty="0"/>
              <a:t>Per Active Directory deployment configuration  </a:t>
            </a:r>
            <a:endParaRPr lang="en-US" sz="1350" dirty="0"/>
          </a:p>
        </p:txBody>
      </p:sp>
      <p:graphicFrame>
        <p:nvGraphicFramePr>
          <p:cNvPr id="6" name="Table 5"/>
          <p:cNvGraphicFramePr>
            <a:graphicFrameLocks noGrp="1"/>
          </p:cNvGraphicFramePr>
          <p:nvPr>
            <p:extLst/>
          </p:nvPr>
        </p:nvGraphicFramePr>
        <p:xfrm>
          <a:off x="1761171" y="2194443"/>
          <a:ext cx="9867266" cy="4046019"/>
        </p:xfrm>
        <a:graphic>
          <a:graphicData uri="http://schemas.openxmlformats.org/drawingml/2006/table">
            <a:tbl>
              <a:tblPr firstRow="1" bandRow="1">
                <a:tableStyleId>{5C22544A-7EE6-4342-B048-85BDC9FD1C3A}</a:tableStyleId>
              </a:tblPr>
              <a:tblGrid>
                <a:gridCol w="1770695"/>
                <a:gridCol w="2655971"/>
                <a:gridCol w="3078400"/>
                <a:gridCol w="2362200"/>
              </a:tblGrid>
              <a:tr h="659321">
                <a:tc>
                  <a:txBody>
                    <a:bodyPr/>
                    <a:lstStyle/>
                    <a:p>
                      <a:pPr defTabSz="932472" fontAlgn="base">
                        <a:lnSpc>
                          <a:spcPct val="90000"/>
                        </a:lnSpc>
                        <a:spcBef>
                          <a:spcPct val="0"/>
                        </a:spcBef>
                        <a:spcAft>
                          <a:spcPct val="0"/>
                        </a:spcAft>
                      </a:pPr>
                      <a:r>
                        <a:rPr lang="en-US" sz="2100" b="1" kern="1200" dirty="0" smtClean="0">
                          <a:gradFill>
                            <a:gsLst>
                              <a:gs pos="0">
                                <a:srgbClr val="FFFFFF"/>
                              </a:gs>
                              <a:gs pos="100000">
                                <a:srgbClr val="FFFFFF"/>
                              </a:gs>
                            </a:gsLst>
                            <a:lin ang="5400000" scaled="0"/>
                          </a:gradFill>
                          <a:latin typeface="+mj-lt"/>
                          <a:ea typeface="Segoe UI" pitchFamily="34" charset="0"/>
                          <a:cs typeface="Segoe UI" pitchFamily="34" charset="0"/>
                        </a:rPr>
                        <a:t>Passport</a:t>
                      </a:r>
                    </a:p>
                  </a:txBody>
                  <a:tcPr marL="137141" marR="137141" marT="68570" marB="6857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DF3"/>
                    </a:solidFill>
                  </a:tcPr>
                </a:tc>
                <a:tc>
                  <a:txBody>
                    <a:bodyPr/>
                    <a:lstStyle/>
                    <a:p>
                      <a:pPr marL="0" marR="0" indent="0" algn="l" defTabSz="932472" rtl="0" eaLnBrk="1" fontAlgn="base" latinLnBrk="0" hangingPunct="1">
                        <a:lnSpc>
                          <a:spcPct val="90000"/>
                        </a:lnSpc>
                        <a:spcBef>
                          <a:spcPct val="0"/>
                        </a:spcBef>
                        <a:spcAft>
                          <a:spcPct val="0"/>
                        </a:spcAft>
                        <a:buClrTx/>
                        <a:buSzTx/>
                        <a:buFontTx/>
                        <a:buNone/>
                        <a:tabLst/>
                        <a:defRPr/>
                      </a:pPr>
                      <a:r>
                        <a:rPr lang="en-US" sz="2100" b="0" kern="1200" baseline="0" dirty="0" smtClean="0">
                          <a:gradFill>
                            <a:gsLst>
                              <a:gs pos="0">
                                <a:srgbClr val="FFFFFF"/>
                              </a:gs>
                              <a:gs pos="100000">
                                <a:srgbClr val="FFFFFF"/>
                              </a:gs>
                            </a:gsLst>
                            <a:lin ang="5400000" scaled="0"/>
                          </a:gradFill>
                          <a:latin typeface="+mn-lt"/>
                          <a:ea typeface="Segoe UI" pitchFamily="34" charset="0"/>
                          <a:cs typeface="Segoe UI" pitchFamily="34" charset="0"/>
                        </a:rPr>
                        <a:t>Azure AD only</a:t>
                      </a:r>
                      <a:endParaRPr lang="en-US" sz="2100" b="0" kern="1200" dirty="0">
                        <a:gradFill>
                          <a:gsLst>
                            <a:gs pos="0">
                              <a:srgbClr val="FFFFFF"/>
                            </a:gs>
                            <a:gs pos="100000">
                              <a:srgbClr val="FFFFFF"/>
                            </a:gs>
                          </a:gsLst>
                          <a:lin ang="5400000" scaled="0"/>
                        </a:gradFill>
                        <a:latin typeface="+mj-lt"/>
                        <a:ea typeface="Segoe UI" pitchFamily="34" charset="0"/>
                        <a:cs typeface="Segoe UI" pitchFamily="34" charset="0"/>
                      </a:endParaRPr>
                    </a:p>
                  </a:txBody>
                  <a:tcPr marL="137141" marR="137141" marT="68570" marB="6857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DF3"/>
                    </a:solidFill>
                  </a:tcPr>
                </a:tc>
                <a:tc>
                  <a:txBody>
                    <a:bodyPr/>
                    <a:lstStyle/>
                    <a:p>
                      <a:pPr marL="0" marR="0" indent="0" algn="l" defTabSz="932472" rtl="0" eaLnBrk="1" fontAlgn="base" latinLnBrk="0" hangingPunct="1">
                        <a:lnSpc>
                          <a:spcPct val="90000"/>
                        </a:lnSpc>
                        <a:spcBef>
                          <a:spcPct val="0"/>
                        </a:spcBef>
                        <a:spcAft>
                          <a:spcPct val="0"/>
                        </a:spcAft>
                        <a:buClrTx/>
                        <a:buSzTx/>
                        <a:buFontTx/>
                        <a:buNone/>
                        <a:tabLst/>
                        <a:defRPr/>
                      </a:pPr>
                      <a:r>
                        <a:rPr lang="en-US" sz="2100" b="0" kern="1200" dirty="0" smtClean="0">
                          <a:gradFill>
                            <a:gsLst>
                              <a:gs pos="0">
                                <a:srgbClr val="FFFFFF"/>
                              </a:gs>
                              <a:gs pos="100000">
                                <a:srgbClr val="FFFFFF"/>
                              </a:gs>
                            </a:gsLst>
                            <a:lin ang="5400000" scaled="0"/>
                          </a:gradFill>
                          <a:latin typeface="+mn-lt"/>
                          <a:ea typeface="Segoe UI" pitchFamily="34" charset="0"/>
                          <a:cs typeface="Segoe UI" pitchFamily="34" charset="0"/>
                        </a:rPr>
                        <a:t>Hybrid AD</a:t>
                      </a:r>
                      <a:endParaRPr lang="en-US" sz="2100" b="1" kern="1200" dirty="0">
                        <a:gradFill>
                          <a:gsLst>
                            <a:gs pos="0">
                              <a:srgbClr val="FFFFFF"/>
                            </a:gs>
                            <a:gs pos="100000">
                              <a:srgbClr val="FFFFFF"/>
                            </a:gs>
                          </a:gsLst>
                          <a:lin ang="5400000" scaled="0"/>
                        </a:gradFill>
                        <a:latin typeface="+mj-lt"/>
                        <a:ea typeface="Segoe UI" pitchFamily="34" charset="0"/>
                        <a:cs typeface="Segoe UI" pitchFamily="34" charset="0"/>
                      </a:endParaRPr>
                    </a:p>
                  </a:txBody>
                  <a:tcPr marL="137141" marR="137141" marT="68570" marB="6857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DF3"/>
                    </a:solidFill>
                  </a:tcPr>
                </a:tc>
                <a:tc>
                  <a:txBody>
                    <a:bodyPr/>
                    <a:lstStyle/>
                    <a:p>
                      <a:pPr marL="0" algn="l" defTabSz="932472" rtl="0" eaLnBrk="1" fontAlgn="base" latinLnBrk="0" hangingPunct="1">
                        <a:lnSpc>
                          <a:spcPct val="90000"/>
                        </a:lnSpc>
                        <a:spcBef>
                          <a:spcPct val="0"/>
                        </a:spcBef>
                        <a:spcAft>
                          <a:spcPct val="0"/>
                        </a:spcAft>
                      </a:pPr>
                      <a:r>
                        <a:rPr lang="en-US" sz="2100" b="1" kern="1200" dirty="0" smtClean="0">
                          <a:gradFill>
                            <a:gsLst>
                              <a:gs pos="0">
                                <a:srgbClr val="FFFFFF"/>
                              </a:gs>
                              <a:gs pos="100000">
                                <a:srgbClr val="FFFFFF"/>
                              </a:gs>
                            </a:gsLst>
                            <a:lin ang="5400000" scaled="0"/>
                          </a:gradFill>
                          <a:latin typeface="+mj-lt"/>
                          <a:ea typeface="Segoe UI" pitchFamily="34" charset="0"/>
                          <a:cs typeface="Segoe UI" pitchFamily="34" charset="0"/>
                        </a:rPr>
                        <a:t>AD on-</a:t>
                      </a:r>
                      <a:r>
                        <a:rPr lang="en-US" sz="2100" b="1" kern="1200" dirty="0" err="1" smtClean="0">
                          <a:gradFill>
                            <a:gsLst>
                              <a:gs pos="0">
                                <a:srgbClr val="FFFFFF"/>
                              </a:gs>
                              <a:gs pos="100000">
                                <a:srgbClr val="FFFFFF"/>
                              </a:gs>
                            </a:gsLst>
                            <a:lin ang="5400000" scaled="0"/>
                          </a:gradFill>
                          <a:latin typeface="+mj-lt"/>
                          <a:ea typeface="Segoe UI" pitchFamily="34" charset="0"/>
                          <a:cs typeface="Segoe UI" pitchFamily="34" charset="0"/>
                        </a:rPr>
                        <a:t>prem</a:t>
                      </a:r>
                      <a:r>
                        <a:rPr lang="en-US" sz="2100" b="1" kern="1200" baseline="0" dirty="0" smtClean="0">
                          <a:gradFill>
                            <a:gsLst>
                              <a:gs pos="0">
                                <a:srgbClr val="FFFFFF"/>
                              </a:gs>
                              <a:gs pos="100000">
                                <a:srgbClr val="FFFFFF"/>
                              </a:gs>
                            </a:gsLst>
                            <a:lin ang="5400000" scaled="0"/>
                          </a:gradFill>
                          <a:latin typeface="+mj-lt"/>
                          <a:ea typeface="Segoe UI" pitchFamily="34" charset="0"/>
                          <a:cs typeface="Segoe UI" pitchFamily="34" charset="0"/>
                        </a:rPr>
                        <a:t> </a:t>
                      </a:r>
                      <a:r>
                        <a:rPr lang="en-US" sz="2100" b="1" kern="1200" dirty="0" smtClean="0">
                          <a:gradFill>
                            <a:gsLst>
                              <a:gs pos="0">
                                <a:srgbClr val="FFFFFF"/>
                              </a:gs>
                              <a:gs pos="100000">
                                <a:srgbClr val="FFFFFF"/>
                              </a:gs>
                            </a:gsLst>
                            <a:lin ang="5400000" scaled="0"/>
                          </a:gradFill>
                          <a:latin typeface="+mj-lt"/>
                          <a:ea typeface="Segoe UI" pitchFamily="34" charset="0"/>
                          <a:cs typeface="Segoe UI" pitchFamily="34" charset="0"/>
                        </a:rPr>
                        <a:t>only</a:t>
                      </a:r>
                      <a:endParaRPr lang="en-US" sz="2100" b="1" kern="1200" dirty="0">
                        <a:gradFill>
                          <a:gsLst>
                            <a:gs pos="0">
                              <a:srgbClr val="FFFFFF"/>
                            </a:gs>
                            <a:gs pos="100000">
                              <a:srgbClr val="FFFFFF"/>
                            </a:gs>
                          </a:gsLst>
                          <a:lin ang="5400000" scaled="0"/>
                        </a:gradFill>
                        <a:latin typeface="+mj-lt"/>
                        <a:ea typeface="Segoe UI" pitchFamily="34" charset="0"/>
                        <a:cs typeface="Segoe UI" pitchFamily="34" charset="0"/>
                      </a:endParaRPr>
                    </a:p>
                  </a:txBody>
                  <a:tcPr marL="137141" marR="137141" marT="68570" marB="6857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DF3"/>
                    </a:solidFill>
                  </a:tcPr>
                </a:tc>
              </a:tr>
              <a:tr h="1370684">
                <a:tc>
                  <a:txBody>
                    <a:bodyPr/>
                    <a:lstStyle/>
                    <a:p>
                      <a:r>
                        <a:rPr lang="en-US" sz="1500" dirty="0" smtClean="0"/>
                        <a:t>Key-based</a:t>
                      </a:r>
                      <a:endParaRPr lang="en-US" sz="1500" dirty="0"/>
                    </a:p>
                  </a:txBody>
                  <a:tcPr marL="137141" marR="137141" marT="68570" marB="6857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a:spcBef>
                          <a:spcPts val="0"/>
                        </a:spcBef>
                        <a:spcAft>
                          <a:spcPts val="0"/>
                        </a:spcAft>
                      </a:pPr>
                      <a:r>
                        <a:rPr lang="en-US" sz="1500" kern="1200" dirty="0">
                          <a:solidFill>
                            <a:schemeClr val="dk1"/>
                          </a:solidFill>
                          <a:latin typeface="+mn-lt"/>
                          <a:ea typeface="+mn-ea"/>
                          <a:cs typeface="+mn-cs"/>
                        </a:rPr>
                        <a:t>AAD </a:t>
                      </a:r>
                      <a:r>
                        <a:rPr lang="en-US" sz="1500" kern="1200" dirty="0" smtClean="0">
                          <a:solidFill>
                            <a:schemeClr val="dk1"/>
                          </a:solidFill>
                          <a:latin typeface="+mn-lt"/>
                          <a:ea typeface="+mn-ea"/>
                          <a:cs typeface="+mn-cs"/>
                        </a:rPr>
                        <a:t>subscription</a:t>
                      </a:r>
                    </a:p>
                    <a:p>
                      <a:pPr marL="0" marR="0">
                        <a:spcBef>
                          <a:spcPts val="0"/>
                        </a:spcBef>
                        <a:spcAft>
                          <a:spcPts val="0"/>
                        </a:spcAft>
                      </a:pPr>
                      <a:endParaRPr lang="en-US" sz="1500" kern="1200" dirty="0" smtClean="0">
                        <a:solidFill>
                          <a:schemeClr val="dk1"/>
                        </a:solidFill>
                        <a:latin typeface="+mn-lt"/>
                        <a:ea typeface="+mn-ea"/>
                        <a:cs typeface="+mn-cs"/>
                      </a:endParaRPr>
                    </a:p>
                    <a:p>
                      <a:pPr marL="0" marR="0" indent="0" algn="l" defTabSz="699493" rtl="0" eaLnBrk="1" fontAlgn="auto" latinLnBrk="0" hangingPunct="1">
                        <a:lnSpc>
                          <a:spcPct val="100000"/>
                        </a:lnSpc>
                        <a:spcBef>
                          <a:spcPts val="0"/>
                        </a:spcBef>
                        <a:spcAft>
                          <a:spcPts val="0"/>
                        </a:spcAft>
                        <a:buClrTx/>
                        <a:buSzTx/>
                        <a:buFontTx/>
                        <a:buNone/>
                        <a:tabLst/>
                        <a:defRPr/>
                      </a:pPr>
                      <a:endParaRPr lang="en-US" sz="1500" i="1" kern="1200" dirty="0" smtClean="0">
                        <a:solidFill>
                          <a:schemeClr val="dk1"/>
                        </a:solidFill>
                        <a:latin typeface="+mn-lt"/>
                        <a:ea typeface="+mn-ea"/>
                        <a:cs typeface="+mn-cs"/>
                      </a:endParaRPr>
                    </a:p>
                    <a:p>
                      <a:pPr marL="0" marR="0" indent="0" algn="l" defTabSz="699493" rtl="0" eaLnBrk="1" fontAlgn="auto" latinLnBrk="0" hangingPunct="1">
                        <a:lnSpc>
                          <a:spcPct val="100000"/>
                        </a:lnSpc>
                        <a:spcBef>
                          <a:spcPts val="0"/>
                        </a:spcBef>
                        <a:spcAft>
                          <a:spcPts val="0"/>
                        </a:spcAft>
                        <a:buClrTx/>
                        <a:buSzTx/>
                        <a:buFontTx/>
                        <a:buNone/>
                        <a:tabLst/>
                        <a:defRPr/>
                      </a:pPr>
                      <a:r>
                        <a:rPr lang="en-US" sz="1500" i="1" kern="1200" dirty="0" smtClean="0">
                          <a:solidFill>
                            <a:schemeClr val="dk1"/>
                          </a:solidFill>
                          <a:latin typeface="+mn-lt"/>
                          <a:ea typeface="+mn-ea"/>
                          <a:cs typeface="+mn-cs"/>
                        </a:rPr>
                        <a:t>3</a:t>
                      </a:r>
                      <a:r>
                        <a:rPr lang="en-US" sz="1500" i="1" kern="1200" baseline="30000" dirty="0" smtClean="0">
                          <a:solidFill>
                            <a:schemeClr val="dk1"/>
                          </a:solidFill>
                          <a:latin typeface="+mn-lt"/>
                          <a:ea typeface="+mn-ea"/>
                          <a:cs typeface="+mn-cs"/>
                        </a:rPr>
                        <a:t>rd</a:t>
                      </a:r>
                      <a:r>
                        <a:rPr lang="en-US" sz="1500" i="1" kern="1200" dirty="0" smtClean="0">
                          <a:solidFill>
                            <a:schemeClr val="dk1"/>
                          </a:solidFill>
                          <a:latin typeface="+mn-lt"/>
                          <a:ea typeface="+mn-ea"/>
                          <a:cs typeface="+mn-cs"/>
                        </a:rPr>
                        <a:t> Party</a:t>
                      </a:r>
                      <a:r>
                        <a:rPr lang="en-US" sz="1500" i="1" kern="1200" baseline="0" dirty="0" smtClean="0">
                          <a:solidFill>
                            <a:schemeClr val="dk1"/>
                          </a:solidFill>
                          <a:latin typeface="+mn-lt"/>
                          <a:ea typeface="+mn-ea"/>
                          <a:cs typeface="+mn-cs"/>
                        </a:rPr>
                        <a:t> </a:t>
                      </a:r>
                      <a:r>
                        <a:rPr lang="en-US" sz="1500" i="1" kern="1200" dirty="0" smtClean="0">
                          <a:solidFill>
                            <a:schemeClr val="dk1"/>
                          </a:solidFill>
                          <a:latin typeface="+mn-lt"/>
                          <a:ea typeface="+mn-ea"/>
                          <a:cs typeface="+mn-cs"/>
                        </a:rPr>
                        <a:t>MDM/Intune</a:t>
                      </a:r>
                    </a:p>
                    <a:p>
                      <a:pPr marL="0" marR="0">
                        <a:spcBef>
                          <a:spcPts val="0"/>
                        </a:spcBef>
                        <a:spcAft>
                          <a:spcPts val="0"/>
                        </a:spcAft>
                      </a:pPr>
                      <a:endParaRPr lang="en-US" sz="1500" kern="1200" dirty="0">
                        <a:solidFill>
                          <a:schemeClr val="dk1"/>
                        </a:solidFill>
                        <a:latin typeface="+mn-lt"/>
                        <a:ea typeface="+mn-ea"/>
                        <a:cs typeface="+mn-cs"/>
                      </a:endParaRPr>
                    </a:p>
                  </a:txBody>
                  <a:tcPr marL="51428" marR="5142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a:spcBef>
                          <a:spcPts val="0"/>
                        </a:spcBef>
                        <a:spcAft>
                          <a:spcPts val="0"/>
                        </a:spcAft>
                      </a:pPr>
                      <a:r>
                        <a:rPr lang="en-US" sz="1500" kern="1200" dirty="0">
                          <a:solidFill>
                            <a:schemeClr val="dk1"/>
                          </a:solidFill>
                          <a:latin typeface="+mn-lt"/>
                          <a:ea typeface="+mn-ea"/>
                          <a:cs typeface="+mn-cs"/>
                        </a:rPr>
                        <a:t>AAD subscription</a:t>
                      </a:r>
                      <a:br>
                        <a:rPr lang="en-US" sz="1500" kern="1200" dirty="0">
                          <a:solidFill>
                            <a:schemeClr val="dk1"/>
                          </a:solidFill>
                          <a:latin typeface="+mn-lt"/>
                          <a:ea typeface="+mn-ea"/>
                          <a:cs typeface="+mn-cs"/>
                        </a:rPr>
                      </a:br>
                      <a:r>
                        <a:rPr lang="en-US" sz="1500" kern="1200" dirty="0">
                          <a:solidFill>
                            <a:schemeClr val="dk1"/>
                          </a:solidFill>
                          <a:latin typeface="+mn-lt"/>
                          <a:ea typeface="+mn-ea"/>
                          <a:cs typeface="+mn-cs"/>
                        </a:rPr>
                        <a:t>AAD Sync w/ NGC key </a:t>
                      </a:r>
                      <a:r>
                        <a:rPr lang="en-US" sz="1500" kern="1200" dirty="0" smtClean="0">
                          <a:solidFill>
                            <a:schemeClr val="dk1"/>
                          </a:solidFill>
                          <a:latin typeface="+mn-lt"/>
                          <a:ea typeface="+mn-ea"/>
                          <a:cs typeface="+mn-cs"/>
                        </a:rPr>
                        <a:t>write-back</a:t>
                      </a:r>
                    </a:p>
                    <a:p>
                      <a:pPr marL="0" marR="0" indent="0" algn="l" defTabSz="699493" rtl="0" eaLnBrk="1" fontAlgn="auto" latinLnBrk="0" hangingPunct="1">
                        <a:lnSpc>
                          <a:spcPct val="100000"/>
                        </a:lnSpc>
                        <a:spcBef>
                          <a:spcPts val="0"/>
                        </a:spcBef>
                        <a:spcAft>
                          <a:spcPts val="0"/>
                        </a:spcAft>
                        <a:buClrTx/>
                        <a:buSzTx/>
                        <a:buFontTx/>
                        <a:buNone/>
                        <a:tabLst/>
                        <a:defRPr/>
                      </a:pPr>
                      <a:endParaRPr lang="en-US" sz="1500" i="1" kern="1200" dirty="0" smtClean="0">
                        <a:solidFill>
                          <a:schemeClr val="dk1"/>
                        </a:solidFill>
                        <a:latin typeface="+mn-lt"/>
                        <a:ea typeface="+mn-ea"/>
                        <a:cs typeface="+mn-cs"/>
                      </a:endParaRPr>
                    </a:p>
                    <a:p>
                      <a:pPr marL="0" marR="0" indent="0" algn="l" defTabSz="699493" rtl="0" eaLnBrk="1" fontAlgn="auto" latinLnBrk="0" hangingPunct="1">
                        <a:lnSpc>
                          <a:spcPct val="100000"/>
                        </a:lnSpc>
                        <a:spcBef>
                          <a:spcPts val="0"/>
                        </a:spcBef>
                        <a:spcAft>
                          <a:spcPts val="0"/>
                        </a:spcAft>
                        <a:buClrTx/>
                        <a:buSzTx/>
                        <a:buFontTx/>
                        <a:buNone/>
                        <a:tabLst/>
                        <a:defRPr/>
                      </a:pPr>
                      <a:r>
                        <a:rPr lang="en-US" sz="1500" i="1" kern="1200" dirty="0" smtClean="0">
                          <a:solidFill>
                            <a:schemeClr val="dk1"/>
                          </a:solidFill>
                          <a:latin typeface="+mn-lt"/>
                          <a:ea typeface="+mn-ea"/>
                          <a:cs typeface="+mn-cs"/>
                        </a:rPr>
                        <a:t>3</a:t>
                      </a:r>
                      <a:r>
                        <a:rPr lang="en-US" sz="1500" i="1" kern="1200" baseline="30000" dirty="0" smtClean="0">
                          <a:solidFill>
                            <a:schemeClr val="dk1"/>
                          </a:solidFill>
                          <a:latin typeface="+mn-lt"/>
                          <a:ea typeface="+mn-ea"/>
                          <a:cs typeface="+mn-cs"/>
                        </a:rPr>
                        <a:t>rd</a:t>
                      </a:r>
                      <a:r>
                        <a:rPr lang="en-US" sz="1500" i="1" kern="1200" dirty="0" smtClean="0">
                          <a:solidFill>
                            <a:schemeClr val="dk1"/>
                          </a:solidFill>
                          <a:latin typeface="+mn-lt"/>
                          <a:ea typeface="+mn-ea"/>
                          <a:cs typeface="+mn-cs"/>
                        </a:rPr>
                        <a:t> Party</a:t>
                      </a:r>
                      <a:r>
                        <a:rPr lang="en-US" sz="1500" i="1" kern="1200" baseline="0" dirty="0" smtClean="0">
                          <a:solidFill>
                            <a:schemeClr val="dk1"/>
                          </a:solidFill>
                          <a:latin typeface="+mn-lt"/>
                          <a:ea typeface="+mn-ea"/>
                          <a:cs typeface="+mn-cs"/>
                        </a:rPr>
                        <a:t> </a:t>
                      </a:r>
                      <a:r>
                        <a:rPr lang="en-US" sz="1500" i="1" kern="1200" dirty="0" smtClean="0">
                          <a:solidFill>
                            <a:schemeClr val="dk1"/>
                          </a:solidFill>
                          <a:latin typeface="+mn-lt"/>
                          <a:ea typeface="+mn-ea"/>
                          <a:cs typeface="+mn-cs"/>
                        </a:rPr>
                        <a:t>MDM/Intune</a:t>
                      </a:r>
                    </a:p>
                    <a:p>
                      <a:pPr marL="0" marR="0">
                        <a:spcBef>
                          <a:spcPts val="0"/>
                        </a:spcBef>
                        <a:spcAft>
                          <a:spcPts val="0"/>
                        </a:spcAft>
                      </a:pPr>
                      <a:endParaRPr lang="en-US" sz="1500" kern="1200" dirty="0">
                        <a:solidFill>
                          <a:schemeClr val="dk1"/>
                        </a:solidFill>
                        <a:latin typeface="+mn-lt"/>
                        <a:ea typeface="+mn-ea"/>
                        <a:cs typeface="+mn-cs"/>
                      </a:endParaRPr>
                    </a:p>
                  </a:txBody>
                  <a:tcPr marL="51428" marR="5142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a:spcBef>
                          <a:spcPts val="0"/>
                        </a:spcBef>
                        <a:spcAft>
                          <a:spcPts val="0"/>
                        </a:spcAft>
                      </a:pPr>
                      <a:r>
                        <a:rPr lang="en-US" sz="1500" kern="1200" dirty="0">
                          <a:solidFill>
                            <a:schemeClr val="dk1"/>
                          </a:solidFill>
                          <a:latin typeface="+mn-lt"/>
                          <a:ea typeface="+mn-ea"/>
                          <a:cs typeface="+mn-cs"/>
                        </a:rPr>
                        <a:t>AD DS 10 DCs</a:t>
                      </a:r>
                      <a:br>
                        <a:rPr lang="en-US" sz="1500" kern="1200" dirty="0">
                          <a:solidFill>
                            <a:schemeClr val="dk1"/>
                          </a:solidFill>
                          <a:latin typeface="+mn-lt"/>
                          <a:ea typeface="+mn-ea"/>
                          <a:cs typeface="+mn-cs"/>
                        </a:rPr>
                      </a:br>
                      <a:r>
                        <a:rPr lang="en-US" sz="1500" kern="1200" dirty="0">
                          <a:solidFill>
                            <a:schemeClr val="dk1"/>
                          </a:solidFill>
                          <a:latin typeface="+mn-lt"/>
                          <a:ea typeface="+mn-ea"/>
                          <a:cs typeface="+mn-cs"/>
                        </a:rPr>
                        <a:t>AD FS </a:t>
                      </a:r>
                      <a:r>
                        <a:rPr lang="en-US" sz="1500" kern="1200" dirty="0" smtClean="0">
                          <a:solidFill>
                            <a:schemeClr val="dk1"/>
                          </a:solidFill>
                          <a:latin typeface="+mn-lt"/>
                          <a:ea typeface="+mn-ea"/>
                          <a:cs typeface="+mn-cs"/>
                        </a:rPr>
                        <a:t>10</a:t>
                      </a:r>
                    </a:p>
                    <a:p>
                      <a:pPr marL="0" marR="0">
                        <a:spcBef>
                          <a:spcPts val="0"/>
                        </a:spcBef>
                        <a:spcAft>
                          <a:spcPts val="0"/>
                        </a:spcAft>
                      </a:pPr>
                      <a:endParaRPr lang="en-US" sz="1500" kern="1200" dirty="0" smtClean="0">
                        <a:solidFill>
                          <a:schemeClr val="dk1"/>
                        </a:solidFill>
                        <a:latin typeface="+mn-lt"/>
                        <a:ea typeface="+mn-ea"/>
                        <a:cs typeface="+mn-cs"/>
                      </a:endParaRPr>
                    </a:p>
                    <a:p>
                      <a:pPr marL="0" marR="0" indent="0" algn="l" defTabSz="699493" rtl="0" eaLnBrk="1" fontAlgn="auto" latinLnBrk="0" hangingPunct="1">
                        <a:lnSpc>
                          <a:spcPct val="100000"/>
                        </a:lnSpc>
                        <a:spcBef>
                          <a:spcPts val="0"/>
                        </a:spcBef>
                        <a:spcAft>
                          <a:spcPts val="0"/>
                        </a:spcAft>
                        <a:buClrTx/>
                        <a:buSzTx/>
                        <a:buFontTx/>
                        <a:buNone/>
                        <a:tabLst/>
                        <a:defRPr/>
                      </a:pPr>
                      <a:r>
                        <a:rPr lang="en-US" sz="1500" i="1" kern="1200" dirty="0" smtClean="0">
                          <a:solidFill>
                            <a:schemeClr val="dk1"/>
                          </a:solidFill>
                          <a:latin typeface="+mn-lt"/>
                          <a:ea typeface="+mn-ea"/>
                          <a:cs typeface="+mn-cs"/>
                        </a:rPr>
                        <a:t>SCCM 2012R2</a:t>
                      </a:r>
                      <a:r>
                        <a:rPr lang="en-US" sz="1500" i="1" kern="1200" baseline="0" dirty="0" smtClean="0">
                          <a:solidFill>
                            <a:schemeClr val="dk1"/>
                          </a:solidFill>
                          <a:latin typeface="+mn-lt"/>
                          <a:ea typeface="+mn-ea"/>
                          <a:cs typeface="+mn-cs"/>
                        </a:rPr>
                        <a:t> SP2/2015</a:t>
                      </a:r>
                      <a:endParaRPr lang="en-US" sz="1500" i="1" kern="1200" dirty="0" smtClean="0">
                        <a:solidFill>
                          <a:schemeClr val="dk1"/>
                        </a:solidFill>
                        <a:latin typeface="+mn-lt"/>
                        <a:ea typeface="+mn-ea"/>
                        <a:cs typeface="+mn-cs"/>
                      </a:endParaRPr>
                    </a:p>
                    <a:p>
                      <a:pPr marL="0" marR="0">
                        <a:spcBef>
                          <a:spcPts val="0"/>
                        </a:spcBef>
                        <a:spcAft>
                          <a:spcPts val="0"/>
                        </a:spcAft>
                      </a:pPr>
                      <a:endParaRPr lang="en-US" sz="1500" kern="1200" dirty="0">
                        <a:solidFill>
                          <a:schemeClr val="dk1"/>
                        </a:solidFill>
                        <a:latin typeface="+mn-lt"/>
                        <a:ea typeface="+mn-ea"/>
                        <a:cs typeface="+mn-cs"/>
                      </a:endParaRPr>
                    </a:p>
                  </a:txBody>
                  <a:tcPr marL="51428" marR="5142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r>
              <a:tr h="2016014">
                <a:tc>
                  <a:txBody>
                    <a:bodyPr/>
                    <a:lstStyle/>
                    <a:p>
                      <a:endParaRPr lang="en-US" sz="1500" dirty="0" smtClean="0"/>
                    </a:p>
                    <a:p>
                      <a:r>
                        <a:rPr lang="en-US" sz="1500" dirty="0" smtClean="0"/>
                        <a:t>Cert-based</a:t>
                      </a:r>
                      <a:endParaRPr lang="en-US" sz="1500" dirty="0"/>
                    </a:p>
                  </a:txBody>
                  <a:tcPr marL="137141" marR="137141" marT="68570" marB="6857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indent="0" algn="l" defTabSz="699493" rtl="0" eaLnBrk="1" fontAlgn="auto" latinLnBrk="0" hangingPunct="1">
                        <a:lnSpc>
                          <a:spcPct val="100000"/>
                        </a:lnSpc>
                        <a:spcBef>
                          <a:spcPts val="0"/>
                        </a:spcBef>
                        <a:spcAft>
                          <a:spcPts val="0"/>
                        </a:spcAft>
                        <a:buClrTx/>
                        <a:buSzTx/>
                        <a:buFontTx/>
                        <a:buNone/>
                        <a:tabLst/>
                        <a:defRPr/>
                      </a:pPr>
                      <a:endParaRPr lang="en-US" sz="1500" kern="1200" dirty="0" smtClean="0">
                        <a:solidFill>
                          <a:schemeClr val="dk1"/>
                        </a:solidFill>
                        <a:latin typeface="+mn-lt"/>
                        <a:ea typeface="+mn-ea"/>
                        <a:cs typeface="+mn-cs"/>
                      </a:endParaRPr>
                    </a:p>
                    <a:p>
                      <a:pPr marL="0" marR="0" indent="0" algn="l" defTabSz="699493" rtl="0" eaLnBrk="1" fontAlgn="auto" latinLnBrk="0" hangingPunct="1">
                        <a:lnSpc>
                          <a:spcPct val="100000"/>
                        </a:lnSpc>
                        <a:spcBef>
                          <a:spcPts val="0"/>
                        </a:spcBef>
                        <a:spcAft>
                          <a:spcPts val="0"/>
                        </a:spcAft>
                        <a:buClrTx/>
                        <a:buSzTx/>
                        <a:buFontTx/>
                        <a:buNone/>
                        <a:tabLst/>
                        <a:defRPr/>
                      </a:pPr>
                      <a:r>
                        <a:rPr lang="en-US" sz="1500" kern="1200" dirty="0" smtClean="0">
                          <a:solidFill>
                            <a:schemeClr val="dk1"/>
                          </a:solidFill>
                          <a:latin typeface="+mn-lt"/>
                          <a:ea typeface="+mn-ea"/>
                          <a:cs typeface="+mn-cs"/>
                        </a:rPr>
                        <a:t>AAD </a:t>
                      </a:r>
                      <a:r>
                        <a:rPr lang="en-US" sz="1500" kern="1200" dirty="0">
                          <a:solidFill>
                            <a:schemeClr val="dk1"/>
                          </a:solidFill>
                          <a:latin typeface="+mn-lt"/>
                          <a:ea typeface="+mn-ea"/>
                          <a:cs typeface="+mn-cs"/>
                        </a:rPr>
                        <a:t>subscription</a:t>
                      </a:r>
                      <a:br>
                        <a:rPr lang="en-US" sz="1500" kern="1200" dirty="0">
                          <a:solidFill>
                            <a:schemeClr val="dk1"/>
                          </a:solidFill>
                          <a:latin typeface="+mn-lt"/>
                          <a:ea typeface="+mn-ea"/>
                          <a:cs typeface="+mn-cs"/>
                        </a:rPr>
                      </a:br>
                      <a:r>
                        <a:rPr lang="en-US" sz="1500" kern="1200" dirty="0">
                          <a:solidFill>
                            <a:schemeClr val="dk1"/>
                          </a:solidFill>
                          <a:latin typeface="+mn-lt"/>
                          <a:ea typeface="+mn-ea"/>
                          <a:cs typeface="+mn-cs"/>
                        </a:rPr>
                        <a:t>PKI infrastructure</a:t>
                      </a:r>
                      <a:br>
                        <a:rPr lang="en-US" sz="1500" kern="1200" dirty="0">
                          <a:solidFill>
                            <a:schemeClr val="dk1"/>
                          </a:solidFill>
                          <a:latin typeface="+mn-lt"/>
                          <a:ea typeface="+mn-ea"/>
                          <a:cs typeface="+mn-cs"/>
                        </a:rPr>
                      </a:br>
                      <a:endParaRPr lang="en-US" sz="1500" kern="1200" dirty="0" smtClean="0">
                        <a:solidFill>
                          <a:schemeClr val="dk1"/>
                        </a:solidFill>
                        <a:latin typeface="+mn-lt"/>
                        <a:ea typeface="+mn-ea"/>
                        <a:cs typeface="+mn-cs"/>
                      </a:endParaRPr>
                    </a:p>
                    <a:p>
                      <a:pPr marL="0" marR="0" indent="0" algn="l" defTabSz="699493" rtl="0" eaLnBrk="1" fontAlgn="auto" latinLnBrk="0" hangingPunct="1">
                        <a:lnSpc>
                          <a:spcPct val="100000"/>
                        </a:lnSpc>
                        <a:spcBef>
                          <a:spcPts val="0"/>
                        </a:spcBef>
                        <a:spcAft>
                          <a:spcPts val="0"/>
                        </a:spcAft>
                        <a:buClrTx/>
                        <a:buSzTx/>
                        <a:buFontTx/>
                        <a:buNone/>
                        <a:tabLst/>
                        <a:defRPr/>
                      </a:pPr>
                      <a:r>
                        <a:rPr lang="en-US" sz="1500" i="1" kern="1200" dirty="0" smtClean="0">
                          <a:solidFill>
                            <a:schemeClr val="dk1"/>
                          </a:solidFill>
                          <a:latin typeface="+mn-lt"/>
                          <a:ea typeface="+mn-ea"/>
                          <a:cs typeface="+mn-cs"/>
                        </a:rPr>
                        <a:t>3</a:t>
                      </a:r>
                      <a:r>
                        <a:rPr lang="en-US" sz="1500" i="1" kern="1200" baseline="30000" dirty="0" smtClean="0">
                          <a:solidFill>
                            <a:schemeClr val="dk1"/>
                          </a:solidFill>
                          <a:latin typeface="+mn-lt"/>
                          <a:ea typeface="+mn-ea"/>
                          <a:cs typeface="+mn-cs"/>
                        </a:rPr>
                        <a:t>rd</a:t>
                      </a:r>
                      <a:r>
                        <a:rPr lang="en-US" sz="1500" i="1" kern="1200" dirty="0" smtClean="0">
                          <a:solidFill>
                            <a:schemeClr val="dk1"/>
                          </a:solidFill>
                          <a:latin typeface="+mn-lt"/>
                          <a:ea typeface="+mn-ea"/>
                          <a:cs typeface="+mn-cs"/>
                        </a:rPr>
                        <a:t> Party</a:t>
                      </a:r>
                      <a:r>
                        <a:rPr lang="en-US" sz="1500" i="1" kern="1200" baseline="0" dirty="0" smtClean="0">
                          <a:solidFill>
                            <a:schemeClr val="dk1"/>
                          </a:solidFill>
                          <a:latin typeface="+mn-lt"/>
                          <a:ea typeface="+mn-ea"/>
                          <a:cs typeface="+mn-cs"/>
                        </a:rPr>
                        <a:t> </a:t>
                      </a:r>
                      <a:r>
                        <a:rPr lang="en-US" sz="1500" i="1" kern="1200" dirty="0" smtClean="0">
                          <a:solidFill>
                            <a:schemeClr val="dk1"/>
                          </a:solidFill>
                          <a:latin typeface="+mn-lt"/>
                          <a:ea typeface="+mn-ea"/>
                          <a:cs typeface="+mn-cs"/>
                        </a:rPr>
                        <a:t>MDM/Intune</a:t>
                      </a:r>
                    </a:p>
                    <a:p>
                      <a:pPr marL="0" marR="0">
                        <a:spcBef>
                          <a:spcPts val="0"/>
                        </a:spcBef>
                        <a:spcAft>
                          <a:spcPts val="0"/>
                        </a:spcAft>
                      </a:pPr>
                      <a:endParaRPr lang="en-US" sz="1500" kern="1200" dirty="0">
                        <a:solidFill>
                          <a:schemeClr val="dk1"/>
                        </a:solidFill>
                        <a:latin typeface="+mn-lt"/>
                        <a:ea typeface="+mn-ea"/>
                        <a:cs typeface="+mn-cs"/>
                      </a:endParaRPr>
                    </a:p>
                  </a:txBody>
                  <a:tcPr marL="51428" marR="5142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indent="0" algn="l" defTabSz="699493" rtl="0" eaLnBrk="1" fontAlgn="auto" latinLnBrk="0" hangingPunct="1">
                        <a:lnSpc>
                          <a:spcPct val="100000"/>
                        </a:lnSpc>
                        <a:spcBef>
                          <a:spcPts val="0"/>
                        </a:spcBef>
                        <a:spcAft>
                          <a:spcPts val="0"/>
                        </a:spcAft>
                        <a:buClrTx/>
                        <a:buSzTx/>
                        <a:buFontTx/>
                        <a:buNone/>
                        <a:tabLst/>
                        <a:defRPr/>
                      </a:pPr>
                      <a:endParaRPr lang="en-US" sz="1500" kern="1200" dirty="0" smtClean="0">
                        <a:solidFill>
                          <a:schemeClr val="dk1"/>
                        </a:solidFill>
                        <a:latin typeface="+mn-lt"/>
                        <a:ea typeface="+mn-ea"/>
                        <a:cs typeface="+mn-cs"/>
                      </a:endParaRPr>
                    </a:p>
                    <a:p>
                      <a:pPr marL="0" marR="0" indent="0" algn="l" defTabSz="699493" rtl="0" eaLnBrk="1" fontAlgn="auto" latinLnBrk="0" hangingPunct="1">
                        <a:lnSpc>
                          <a:spcPct val="100000"/>
                        </a:lnSpc>
                        <a:spcBef>
                          <a:spcPts val="0"/>
                        </a:spcBef>
                        <a:spcAft>
                          <a:spcPts val="0"/>
                        </a:spcAft>
                        <a:buClrTx/>
                        <a:buSzTx/>
                        <a:buFontTx/>
                        <a:buNone/>
                        <a:tabLst/>
                        <a:defRPr/>
                      </a:pPr>
                      <a:r>
                        <a:rPr lang="en-US" sz="1500" kern="1200" dirty="0" smtClean="0">
                          <a:solidFill>
                            <a:schemeClr val="dk1"/>
                          </a:solidFill>
                          <a:latin typeface="+mn-lt"/>
                          <a:ea typeface="+mn-ea"/>
                          <a:cs typeface="+mn-cs"/>
                        </a:rPr>
                        <a:t>AAD </a:t>
                      </a:r>
                      <a:r>
                        <a:rPr lang="en-US" sz="1500" kern="1200" dirty="0">
                          <a:solidFill>
                            <a:schemeClr val="dk1"/>
                          </a:solidFill>
                          <a:latin typeface="+mn-lt"/>
                          <a:ea typeface="+mn-ea"/>
                          <a:cs typeface="+mn-cs"/>
                        </a:rPr>
                        <a:t>subscription</a:t>
                      </a:r>
                      <a:br>
                        <a:rPr lang="en-US" sz="1500" kern="1200" dirty="0">
                          <a:solidFill>
                            <a:schemeClr val="dk1"/>
                          </a:solidFill>
                          <a:latin typeface="+mn-lt"/>
                          <a:ea typeface="+mn-ea"/>
                          <a:cs typeface="+mn-cs"/>
                        </a:rPr>
                      </a:br>
                      <a:r>
                        <a:rPr lang="en-US" sz="1500" kern="1200" dirty="0">
                          <a:solidFill>
                            <a:schemeClr val="dk1"/>
                          </a:solidFill>
                          <a:latin typeface="+mn-lt"/>
                          <a:ea typeface="+mn-ea"/>
                          <a:cs typeface="+mn-cs"/>
                        </a:rPr>
                        <a:t>PKI infrastructure</a:t>
                      </a:r>
                      <a:br>
                        <a:rPr lang="en-US" sz="1500" kern="1200" dirty="0">
                          <a:solidFill>
                            <a:schemeClr val="dk1"/>
                          </a:solidFill>
                          <a:latin typeface="+mn-lt"/>
                          <a:ea typeface="+mn-ea"/>
                          <a:cs typeface="+mn-cs"/>
                        </a:rPr>
                      </a:br>
                      <a:endParaRPr lang="en-US" sz="1500" kern="1200" dirty="0" smtClean="0">
                        <a:solidFill>
                          <a:schemeClr val="dk1"/>
                        </a:solidFill>
                        <a:latin typeface="+mn-lt"/>
                        <a:ea typeface="+mn-ea"/>
                        <a:cs typeface="+mn-cs"/>
                      </a:endParaRPr>
                    </a:p>
                    <a:p>
                      <a:pPr marL="0" marR="0" indent="0" algn="l" defTabSz="699493" rtl="0" eaLnBrk="1" fontAlgn="auto" latinLnBrk="0" hangingPunct="1">
                        <a:lnSpc>
                          <a:spcPct val="100000"/>
                        </a:lnSpc>
                        <a:spcBef>
                          <a:spcPts val="0"/>
                        </a:spcBef>
                        <a:spcAft>
                          <a:spcPts val="0"/>
                        </a:spcAft>
                        <a:buClrTx/>
                        <a:buSzTx/>
                        <a:buFontTx/>
                        <a:buNone/>
                        <a:tabLst/>
                        <a:defRPr/>
                      </a:pPr>
                      <a:r>
                        <a:rPr lang="en-US" sz="1500" i="1" kern="1200" dirty="0" smtClean="0">
                          <a:solidFill>
                            <a:schemeClr val="dk1"/>
                          </a:solidFill>
                          <a:latin typeface="+mn-lt"/>
                          <a:ea typeface="+mn-ea"/>
                          <a:cs typeface="+mn-cs"/>
                        </a:rPr>
                        <a:t>SCCM 2012R2</a:t>
                      </a:r>
                      <a:r>
                        <a:rPr lang="en-US" sz="1500" i="1" kern="1200" baseline="0" dirty="0" smtClean="0">
                          <a:solidFill>
                            <a:schemeClr val="dk1"/>
                          </a:solidFill>
                          <a:latin typeface="+mn-lt"/>
                          <a:ea typeface="+mn-ea"/>
                          <a:cs typeface="+mn-cs"/>
                        </a:rPr>
                        <a:t> SP2/2015</a:t>
                      </a:r>
                      <a:endParaRPr lang="en-US" sz="1500" i="1" kern="1200" dirty="0" smtClean="0">
                        <a:solidFill>
                          <a:schemeClr val="dk1"/>
                        </a:solidFill>
                        <a:latin typeface="+mn-lt"/>
                        <a:ea typeface="+mn-ea"/>
                        <a:cs typeface="+mn-cs"/>
                      </a:endParaRPr>
                    </a:p>
                    <a:p>
                      <a:pPr marL="0" marR="0" indent="0" algn="l" defTabSz="699493" rtl="0" eaLnBrk="1" fontAlgn="auto" latinLnBrk="0" hangingPunct="1">
                        <a:lnSpc>
                          <a:spcPct val="100000"/>
                        </a:lnSpc>
                        <a:spcBef>
                          <a:spcPts val="0"/>
                        </a:spcBef>
                        <a:spcAft>
                          <a:spcPts val="0"/>
                        </a:spcAft>
                        <a:buClrTx/>
                        <a:buSzTx/>
                        <a:buFontTx/>
                        <a:buNone/>
                        <a:tabLst/>
                        <a:defRPr/>
                      </a:pPr>
                      <a:r>
                        <a:rPr lang="en-US" sz="1500" i="1" kern="1200" dirty="0" smtClean="0">
                          <a:solidFill>
                            <a:schemeClr val="dk1"/>
                          </a:solidFill>
                          <a:latin typeface="+mn-lt"/>
                          <a:ea typeface="+mn-ea"/>
                          <a:cs typeface="+mn-cs"/>
                        </a:rPr>
                        <a:t>3</a:t>
                      </a:r>
                      <a:r>
                        <a:rPr lang="en-US" sz="1500" i="1" kern="1200" baseline="30000" dirty="0" smtClean="0">
                          <a:solidFill>
                            <a:schemeClr val="dk1"/>
                          </a:solidFill>
                          <a:latin typeface="+mn-lt"/>
                          <a:ea typeface="+mn-ea"/>
                          <a:cs typeface="+mn-cs"/>
                        </a:rPr>
                        <a:t>rd</a:t>
                      </a:r>
                      <a:r>
                        <a:rPr lang="en-US" sz="1500" i="1" kern="1200" dirty="0" smtClean="0">
                          <a:solidFill>
                            <a:schemeClr val="dk1"/>
                          </a:solidFill>
                          <a:latin typeface="+mn-lt"/>
                          <a:ea typeface="+mn-ea"/>
                          <a:cs typeface="+mn-cs"/>
                        </a:rPr>
                        <a:t> Party</a:t>
                      </a:r>
                      <a:r>
                        <a:rPr lang="en-US" sz="1500" i="1" kern="1200" baseline="0" dirty="0" smtClean="0">
                          <a:solidFill>
                            <a:schemeClr val="dk1"/>
                          </a:solidFill>
                          <a:latin typeface="+mn-lt"/>
                          <a:ea typeface="+mn-ea"/>
                          <a:cs typeface="+mn-cs"/>
                        </a:rPr>
                        <a:t> </a:t>
                      </a:r>
                      <a:r>
                        <a:rPr lang="en-US" sz="1500" i="1" kern="1200" dirty="0" smtClean="0">
                          <a:solidFill>
                            <a:schemeClr val="dk1"/>
                          </a:solidFill>
                          <a:latin typeface="+mn-lt"/>
                          <a:ea typeface="+mn-ea"/>
                          <a:cs typeface="+mn-cs"/>
                        </a:rPr>
                        <a:t>MDM/Intune</a:t>
                      </a:r>
                    </a:p>
                    <a:p>
                      <a:pPr marL="0" marR="0">
                        <a:spcBef>
                          <a:spcPts val="0"/>
                        </a:spcBef>
                        <a:spcAft>
                          <a:spcPts val="0"/>
                        </a:spcAft>
                      </a:pPr>
                      <a:endParaRPr lang="en-US" sz="1500" kern="1200" dirty="0">
                        <a:solidFill>
                          <a:schemeClr val="dk1"/>
                        </a:solidFill>
                        <a:latin typeface="+mn-lt"/>
                        <a:ea typeface="+mn-ea"/>
                        <a:cs typeface="+mn-cs"/>
                      </a:endParaRPr>
                    </a:p>
                  </a:txBody>
                  <a:tcPr marL="51428" marR="5142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indent="0" algn="l" defTabSz="699493" rtl="0" eaLnBrk="1" fontAlgn="auto" latinLnBrk="0" hangingPunct="1">
                        <a:lnSpc>
                          <a:spcPct val="100000"/>
                        </a:lnSpc>
                        <a:spcBef>
                          <a:spcPts val="0"/>
                        </a:spcBef>
                        <a:spcAft>
                          <a:spcPts val="0"/>
                        </a:spcAft>
                        <a:buClrTx/>
                        <a:buSzTx/>
                        <a:buFontTx/>
                        <a:buNone/>
                        <a:tabLst/>
                        <a:defRPr/>
                      </a:pPr>
                      <a:endParaRPr lang="en-US" sz="1500" kern="1200" dirty="0" smtClean="0">
                        <a:solidFill>
                          <a:schemeClr val="dk1"/>
                        </a:solidFill>
                        <a:latin typeface="+mn-lt"/>
                        <a:ea typeface="+mn-ea"/>
                        <a:cs typeface="+mn-cs"/>
                      </a:endParaRPr>
                    </a:p>
                    <a:p>
                      <a:pPr marL="0" marR="0" indent="0" algn="l" defTabSz="699493" rtl="0" eaLnBrk="1" fontAlgn="auto" latinLnBrk="0" hangingPunct="1">
                        <a:lnSpc>
                          <a:spcPct val="100000"/>
                        </a:lnSpc>
                        <a:spcBef>
                          <a:spcPts val="0"/>
                        </a:spcBef>
                        <a:spcAft>
                          <a:spcPts val="0"/>
                        </a:spcAft>
                        <a:buClrTx/>
                        <a:buSzTx/>
                        <a:buFontTx/>
                        <a:buNone/>
                        <a:tabLst/>
                        <a:defRPr/>
                      </a:pPr>
                      <a:r>
                        <a:rPr lang="en-US" sz="1500" kern="1200" dirty="0" smtClean="0">
                          <a:solidFill>
                            <a:schemeClr val="dk1"/>
                          </a:solidFill>
                          <a:latin typeface="+mn-lt"/>
                          <a:ea typeface="+mn-ea"/>
                          <a:cs typeface="+mn-cs"/>
                        </a:rPr>
                        <a:t>AD </a:t>
                      </a:r>
                      <a:r>
                        <a:rPr lang="en-US" sz="1500" kern="1200" dirty="0">
                          <a:solidFill>
                            <a:schemeClr val="dk1"/>
                          </a:solidFill>
                          <a:latin typeface="+mn-lt"/>
                          <a:ea typeface="+mn-ea"/>
                          <a:cs typeface="+mn-cs"/>
                        </a:rPr>
                        <a:t>DS 10 schema</a:t>
                      </a:r>
                      <a:br>
                        <a:rPr lang="en-US" sz="1500" kern="1200" dirty="0">
                          <a:solidFill>
                            <a:schemeClr val="dk1"/>
                          </a:solidFill>
                          <a:latin typeface="+mn-lt"/>
                          <a:ea typeface="+mn-ea"/>
                          <a:cs typeface="+mn-cs"/>
                        </a:rPr>
                      </a:br>
                      <a:r>
                        <a:rPr lang="en-US" sz="1500" kern="1200" dirty="0">
                          <a:solidFill>
                            <a:schemeClr val="dk1"/>
                          </a:solidFill>
                          <a:latin typeface="+mn-lt"/>
                          <a:ea typeface="+mn-ea"/>
                          <a:cs typeface="+mn-cs"/>
                        </a:rPr>
                        <a:t>AD FS 10</a:t>
                      </a:r>
                      <a:br>
                        <a:rPr lang="en-US" sz="1500" kern="1200" dirty="0">
                          <a:solidFill>
                            <a:schemeClr val="dk1"/>
                          </a:solidFill>
                          <a:latin typeface="+mn-lt"/>
                          <a:ea typeface="+mn-ea"/>
                          <a:cs typeface="+mn-cs"/>
                        </a:rPr>
                      </a:br>
                      <a:r>
                        <a:rPr lang="en-US" sz="1500" kern="1200" dirty="0">
                          <a:solidFill>
                            <a:schemeClr val="dk1"/>
                          </a:solidFill>
                          <a:latin typeface="+mn-lt"/>
                          <a:ea typeface="+mn-ea"/>
                          <a:cs typeface="+mn-cs"/>
                        </a:rPr>
                        <a:t>PKI infrastructure</a:t>
                      </a:r>
                      <a:br>
                        <a:rPr lang="en-US" sz="1500" kern="1200" dirty="0">
                          <a:solidFill>
                            <a:schemeClr val="dk1"/>
                          </a:solidFill>
                          <a:latin typeface="+mn-lt"/>
                          <a:ea typeface="+mn-ea"/>
                          <a:cs typeface="+mn-cs"/>
                        </a:rPr>
                      </a:br>
                      <a:endParaRPr lang="en-US" sz="1500" kern="1200" dirty="0" smtClean="0">
                        <a:solidFill>
                          <a:schemeClr val="dk1"/>
                        </a:solidFill>
                        <a:latin typeface="+mn-lt"/>
                        <a:ea typeface="+mn-ea"/>
                        <a:cs typeface="+mn-cs"/>
                      </a:endParaRPr>
                    </a:p>
                    <a:p>
                      <a:pPr marL="0" marR="0" indent="0" algn="l" defTabSz="699493" rtl="0" eaLnBrk="1" fontAlgn="auto" latinLnBrk="0" hangingPunct="1">
                        <a:lnSpc>
                          <a:spcPct val="100000"/>
                        </a:lnSpc>
                        <a:spcBef>
                          <a:spcPts val="0"/>
                        </a:spcBef>
                        <a:spcAft>
                          <a:spcPts val="0"/>
                        </a:spcAft>
                        <a:buClrTx/>
                        <a:buSzTx/>
                        <a:buFontTx/>
                        <a:buNone/>
                        <a:tabLst/>
                        <a:defRPr/>
                      </a:pPr>
                      <a:r>
                        <a:rPr lang="en-US" sz="1500" i="1" kern="1200" dirty="0" smtClean="0">
                          <a:solidFill>
                            <a:schemeClr val="dk1"/>
                          </a:solidFill>
                          <a:latin typeface="+mn-lt"/>
                          <a:ea typeface="+mn-ea"/>
                          <a:cs typeface="+mn-cs"/>
                        </a:rPr>
                        <a:t>SCCM 2012R2</a:t>
                      </a:r>
                      <a:r>
                        <a:rPr lang="en-US" sz="1500" i="1" kern="1200" baseline="0" dirty="0" smtClean="0">
                          <a:solidFill>
                            <a:schemeClr val="dk1"/>
                          </a:solidFill>
                          <a:latin typeface="+mn-lt"/>
                          <a:ea typeface="+mn-ea"/>
                          <a:cs typeface="+mn-cs"/>
                        </a:rPr>
                        <a:t> SP2/2015</a:t>
                      </a:r>
                      <a:endParaRPr lang="en-US" sz="1500" i="1" kern="1200" dirty="0" smtClean="0">
                        <a:solidFill>
                          <a:schemeClr val="dk1"/>
                        </a:solidFill>
                        <a:latin typeface="+mn-lt"/>
                        <a:ea typeface="+mn-ea"/>
                        <a:cs typeface="+mn-cs"/>
                      </a:endParaRPr>
                    </a:p>
                  </a:txBody>
                  <a:tcPr marL="51428" marR="5142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r>
            </a:tbl>
          </a:graphicData>
        </a:graphic>
      </p:graphicFrame>
    </p:spTree>
    <p:extLst>
      <p:ext uri="{BB962C8B-B14F-4D97-AF65-F5344CB8AC3E}">
        <p14:creationId xmlns:p14="http://schemas.microsoft.com/office/powerpoint/2010/main" val="33267133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9" y="2887662"/>
            <a:ext cx="11889564" cy="917575"/>
          </a:xfrm>
        </p:spPr>
        <p:txBody>
          <a:bodyPr/>
          <a:lstStyle/>
          <a:p>
            <a:r>
              <a:rPr lang="en-US" sz="8000" dirty="0" smtClean="0"/>
              <a:t>Passport</a:t>
            </a:r>
            <a:r>
              <a:rPr lang="en-US" sz="8000" spc="0" dirty="0" smtClean="0">
                <a:gradFill>
                  <a:gsLst>
                    <a:gs pos="20354">
                      <a:schemeClr val="tx2"/>
                    </a:gs>
                    <a:gs pos="40000">
                      <a:schemeClr val="tx2"/>
                    </a:gs>
                  </a:gsLst>
                  <a:lin ang="5400000" scaled="0"/>
                </a:gradFill>
              </a:rPr>
              <a:t> Gestures</a:t>
            </a:r>
            <a:r>
              <a:rPr lang="en-US" sz="8000" dirty="0" smtClean="0"/>
              <a:t/>
            </a:r>
            <a:br>
              <a:rPr lang="en-US" sz="8000" dirty="0" smtClean="0"/>
            </a:br>
            <a:endParaRPr lang="en-US" sz="8000" dirty="0"/>
          </a:p>
        </p:txBody>
      </p:sp>
    </p:spTree>
    <p:extLst>
      <p:ext uri="{BB962C8B-B14F-4D97-AF65-F5344CB8AC3E}">
        <p14:creationId xmlns:p14="http://schemas.microsoft.com/office/powerpoint/2010/main" val="260636435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indows Hello</a:t>
            </a:r>
            <a:endParaRPr lang="en-US" dirty="0"/>
          </a:p>
        </p:txBody>
      </p:sp>
      <p:sp>
        <p:nvSpPr>
          <p:cNvPr id="3" name="Text Placeholder 2"/>
          <p:cNvSpPr>
            <a:spLocks noGrp="1"/>
          </p:cNvSpPr>
          <p:nvPr>
            <p:ph type="body" sz="quarter" idx="10"/>
          </p:nvPr>
        </p:nvSpPr>
        <p:spPr>
          <a:xfrm>
            <a:off x="274638" y="1212850"/>
            <a:ext cx="11887200" cy="3859518"/>
          </a:xfrm>
        </p:spPr>
        <p:txBody>
          <a:bodyPr/>
          <a:lstStyle/>
          <a:p>
            <a:pPr marL="342900" lvl="1" indent="-342900">
              <a:spcAft>
                <a:spcPts val="1200"/>
              </a:spcAft>
              <a:buFont typeface="Wingdings" panose="05000000000000000000" pitchFamily="2" charset="2"/>
              <a:buChar char="§"/>
            </a:pPr>
            <a:endParaRPr lang="en-US" sz="2800" dirty="0" smtClean="0"/>
          </a:p>
          <a:p>
            <a:pPr marL="342900" lvl="1" indent="-342900">
              <a:spcAft>
                <a:spcPts val="1200"/>
              </a:spcAft>
              <a:buFont typeface="Wingdings" panose="05000000000000000000" pitchFamily="2" charset="2"/>
              <a:buChar char="§"/>
            </a:pPr>
            <a:r>
              <a:rPr lang="en-US" sz="2800" dirty="0" smtClean="0"/>
              <a:t>Windows Hello biometric authentication – using your face, iris, or fingerprint</a:t>
            </a:r>
          </a:p>
          <a:p>
            <a:pPr marL="342900" lvl="1" indent="-342900">
              <a:spcAft>
                <a:spcPts val="1200"/>
              </a:spcAft>
              <a:buFont typeface="Wingdings" panose="05000000000000000000" pitchFamily="2" charset="2"/>
              <a:buChar char="§"/>
            </a:pPr>
            <a:r>
              <a:rPr lang="en-US" sz="2800" dirty="0" smtClean="0"/>
              <a:t>Convenient device logon and strong user authentication</a:t>
            </a:r>
          </a:p>
          <a:p>
            <a:pPr marL="342900" lvl="1" indent="-342900">
              <a:spcAft>
                <a:spcPts val="1200"/>
              </a:spcAft>
              <a:buFont typeface="Wingdings" panose="05000000000000000000" pitchFamily="2" charset="2"/>
              <a:buChar char="§"/>
            </a:pPr>
            <a:r>
              <a:rPr lang="en-US" sz="2800" dirty="0" smtClean="0"/>
              <a:t>Consistent inbox user enrolment and usage across Windows enabled biometric devices</a:t>
            </a:r>
          </a:p>
          <a:p>
            <a:pPr marL="342900" lvl="1" indent="-342900">
              <a:spcAft>
                <a:spcPts val="1200"/>
              </a:spcAft>
              <a:buFont typeface="Wingdings" panose="05000000000000000000" pitchFamily="2" charset="2"/>
              <a:buChar char="§"/>
            </a:pPr>
            <a:endParaRPr lang="en-US" sz="2800" dirty="0"/>
          </a:p>
        </p:txBody>
      </p:sp>
    </p:spTree>
    <p:extLst>
      <p:ext uri="{BB962C8B-B14F-4D97-AF65-F5344CB8AC3E}">
        <p14:creationId xmlns:p14="http://schemas.microsoft.com/office/powerpoint/2010/main" val="180769885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Introducing Windows Hello “</a:t>
            </a:r>
            <a:r>
              <a:rPr lang="en-US" dirty="0" err="1" smtClean="0"/>
              <a:t>Winky</a:t>
            </a:r>
            <a:r>
              <a:rPr lang="en-US" dirty="0" smtClean="0"/>
              <a:t>”</a:t>
            </a:r>
            <a:endParaRPr lang="en-US" dirty="0"/>
          </a:p>
        </p:txBody>
      </p:sp>
      <p:pic>
        <p:nvPicPr>
          <p:cNvPr id="5" name="winky_music">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2561820" y="1668462"/>
            <a:ext cx="7315201" cy="4114801"/>
          </a:xfrm>
          <a:prstGeom prst="rect">
            <a:avLst/>
          </a:prstGeom>
        </p:spPr>
      </p:pic>
    </p:spTree>
    <p:extLst>
      <p:ext uri="{BB962C8B-B14F-4D97-AF65-F5344CB8AC3E}">
        <p14:creationId xmlns:p14="http://schemas.microsoft.com/office/powerpoint/2010/main" val="360462123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restart="whenNotActive" fill="hold" evtFilter="cancelBubble" nodeType="interactiveSeq">
                <p:stCondLst>
                  <p:cond evt="onClick" delay="0">
                    <p:tgtEl>
                      <p:spTgt spid="5"/>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5"/>
                                        </p:tgtEl>
                                      </p:cBhvr>
                                    </p:cmd>
                                  </p:childTnLst>
                                </p:cTn>
                              </p:par>
                            </p:childTnLst>
                          </p:cTn>
                        </p:par>
                      </p:childTnLst>
                    </p:cTn>
                  </p:par>
                </p:childTnLst>
              </p:cTn>
              <p:nextCondLst>
                <p:cond evt="onClick" delay="0">
                  <p:tgtEl>
                    <p:spTgt spid="5"/>
                  </p:tgtEl>
                </p:cond>
              </p:nextCondLst>
            </p:seq>
            <p:video>
              <p:cMediaNode vol="80000">
                <p:cTn id="7" fill="hold" display="0">
                  <p:stCondLst>
                    <p:cond delay="indefinite"/>
                  </p:stCondLst>
                </p:cTn>
                <p:tgtEl>
                  <p:spTgt spid="5"/>
                </p:tgtEl>
              </p:cMediaNode>
            </p:video>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a:off x="-1" y="68909"/>
            <a:ext cx="12436476" cy="6856705"/>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8" rIns="34968" bIns="69935" numCol="1" spcCol="0" rtlCol="0" fromWordArt="0" anchor="b" anchorCtr="0" forceAA="0" compatLnSpc="1">
            <a:prstTxWarp prst="textNoShape">
              <a:avLst/>
            </a:prstTxWarp>
            <a:noAutofit/>
          </a:bodyPr>
          <a:lstStyle/>
          <a:p>
            <a:pPr algn="ctr" defTabSz="699155" fontAlgn="base">
              <a:spcBef>
                <a:spcPct val="0"/>
              </a:spcBef>
              <a:spcAft>
                <a:spcPct val="0"/>
              </a:spcAft>
            </a:pPr>
            <a:endParaRPr lang="en-US" sz="1377" spc="-39" dirty="0" err="1">
              <a:gradFill>
                <a:gsLst>
                  <a:gs pos="0">
                    <a:srgbClr val="FFFFFF"/>
                  </a:gs>
                  <a:gs pos="100000">
                    <a:srgbClr val="FFFFFF"/>
                  </a:gs>
                </a:gsLst>
                <a:lin ang="5400000" scaled="0"/>
              </a:gradFill>
              <a:ea typeface="Segoe UI" pitchFamily="34" charset="0"/>
              <a:cs typeface="Segoe UI" pitchFamily="34" charset="0"/>
            </a:endParaRPr>
          </a:p>
        </p:txBody>
      </p:sp>
      <p:sp>
        <p:nvSpPr>
          <p:cNvPr id="16" name="Title 1"/>
          <p:cNvSpPr txBox="1">
            <a:spLocks/>
          </p:cNvSpPr>
          <p:nvPr/>
        </p:nvSpPr>
        <p:spPr>
          <a:xfrm>
            <a:off x="765828" y="2361444"/>
            <a:ext cx="3806719" cy="609398"/>
          </a:xfrm>
          <a:prstGeom prst="rect">
            <a:avLst/>
          </a:prstGeom>
        </p:spPr>
        <p:txBody>
          <a:bodyPr vert="horz" wrap="square" lIns="0" tIns="0" rIns="0" bIns="0" rtlCol="0" anchor="b">
            <a:spAutoFit/>
          </a:bodyPr>
          <a:lstStyle>
            <a:lvl1pPr algn="l" defTabSz="914277" rtl="0" eaLnBrk="1" latinLnBrk="0" hangingPunct="1">
              <a:lnSpc>
                <a:spcPct val="90000"/>
              </a:lnSpc>
              <a:spcBef>
                <a:spcPct val="0"/>
              </a:spcBef>
              <a:buNone/>
              <a:defRPr lang="en-US" sz="5400" b="0" kern="1200" cap="none" spc="-100" baseline="0" dirty="0">
                <a:ln w="3175">
                  <a:noFill/>
                </a:ln>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effectLst/>
                <a:latin typeface="Segoe UI Light" pitchFamily="34" charset="0"/>
                <a:ea typeface="+mn-ea"/>
                <a:cs typeface="+mn-cs"/>
              </a:defRPr>
            </a:lvl1pPr>
          </a:lstStyle>
          <a:p>
            <a:r>
              <a:rPr sz="4400" b="1" smtClean="0">
                <a:solidFill>
                  <a:srgbClr val="FFFFFF">
                    <a:lumMod val="95000"/>
                  </a:srgbClr>
                </a:solidFill>
                <a:latin typeface="Segoe UI"/>
              </a:rPr>
              <a:t>Shared secrets</a:t>
            </a:r>
            <a:endParaRPr sz="4400" b="1">
              <a:solidFill>
                <a:srgbClr val="FFFFFF">
                  <a:lumMod val="95000"/>
                </a:srgbClr>
              </a:solidFill>
              <a:latin typeface="Segoe UI"/>
            </a:endParaRPr>
          </a:p>
        </p:txBody>
      </p:sp>
      <p:sp>
        <p:nvSpPr>
          <p:cNvPr id="18" name="Freeform 17"/>
          <p:cNvSpPr/>
          <p:nvPr/>
        </p:nvSpPr>
        <p:spPr bwMode="black">
          <a:xfrm flipV="1">
            <a:off x="8772274" y="1121644"/>
            <a:ext cx="2569640" cy="2032325"/>
          </a:xfrm>
          <a:custGeom>
            <a:avLst/>
            <a:gdLst>
              <a:gd name="connsiteX0" fmla="*/ 0 w 1941789"/>
              <a:gd name="connsiteY0" fmla="*/ 2039994 h 2039994"/>
              <a:gd name="connsiteX1" fmla="*/ 1941789 w 1941789"/>
              <a:gd name="connsiteY1" fmla="*/ 2039994 h 2039994"/>
              <a:gd name="connsiteX2" fmla="*/ 1941789 w 1941789"/>
              <a:gd name="connsiteY2" fmla="*/ 559364 h 2039994"/>
              <a:gd name="connsiteX3" fmla="*/ 1033473 w 1941789"/>
              <a:gd name="connsiteY3" fmla="*/ 559364 h 2039994"/>
              <a:gd name="connsiteX4" fmla="*/ 362056 w 1941789"/>
              <a:gd name="connsiteY4" fmla="*/ 0 h 2039994"/>
              <a:gd name="connsiteX5" fmla="*/ 362056 w 1941789"/>
              <a:gd name="connsiteY5" fmla="*/ 559364 h 2039994"/>
              <a:gd name="connsiteX6" fmla="*/ 0 w 1941789"/>
              <a:gd name="connsiteY6" fmla="*/ 559364 h 2039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41789" h="2039994">
                <a:moveTo>
                  <a:pt x="0" y="2039994"/>
                </a:moveTo>
                <a:lnTo>
                  <a:pt x="1941789" y="2039994"/>
                </a:lnTo>
                <a:lnTo>
                  <a:pt x="1941789" y="559364"/>
                </a:lnTo>
                <a:lnTo>
                  <a:pt x="1033473" y="559364"/>
                </a:lnTo>
                <a:lnTo>
                  <a:pt x="362056" y="0"/>
                </a:lnTo>
                <a:lnTo>
                  <a:pt x="362056" y="559364"/>
                </a:lnTo>
                <a:lnTo>
                  <a:pt x="0" y="559364"/>
                </a:lnTo>
                <a:close/>
              </a:path>
            </a:pathLst>
          </a:custGeom>
          <a:noFill/>
          <a:ln w="57150">
            <a:solidFill>
              <a:schemeClr val="bg1">
                <a:lumMod val="95000"/>
              </a:schemeClr>
            </a:solidFill>
            <a:prstDash val="sysDot"/>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68567" tIns="34283" rIns="68567" bIns="34283" numCol="1" rtlCol="0" anchor="ctr" anchorCtr="0" compatLnSpc="1">
            <a:prstTxWarp prst="textNoShape">
              <a:avLst/>
            </a:prstTxWarp>
            <a:noAutofit/>
          </a:bodyPr>
          <a:lstStyle/>
          <a:p>
            <a:pPr defTabSz="555505"/>
            <a:endParaRPr lang="en-US" sz="1350" spc="-92" dirty="0">
              <a:solidFill>
                <a:srgbClr val="505050">
                  <a:lumMod val="50000"/>
                </a:srgbClr>
              </a:solidFill>
              <a:latin typeface="Segoe Light" pitchFamily="34" charset="0"/>
            </a:endParaRPr>
          </a:p>
        </p:txBody>
      </p:sp>
      <p:sp>
        <p:nvSpPr>
          <p:cNvPr id="20" name="TextBox 19"/>
          <p:cNvSpPr txBox="1"/>
          <p:nvPr/>
        </p:nvSpPr>
        <p:spPr bwMode="black">
          <a:xfrm>
            <a:off x="9342437" y="1516062"/>
            <a:ext cx="1606608" cy="677108"/>
          </a:xfrm>
          <a:prstGeom prst="rect">
            <a:avLst/>
          </a:prstGeom>
          <a:noFill/>
        </p:spPr>
        <p:txBody>
          <a:bodyPr wrap="square" lIns="0" tIns="0" rIns="0" bIns="0" rtlCol="0">
            <a:spAutoFit/>
          </a:bodyPr>
          <a:lstStyle/>
          <a:p>
            <a:r>
              <a:rPr lang="en-US" sz="4400" spc="-101" dirty="0" err="1">
                <a:solidFill>
                  <a:srgbClr val="FFFFFF">
                    <a:lumMod val="95000"/>
                  </a:srgbClr>
                </a:solidFill>
                <a:latin typeface="Segoe UI Semibold" panose="020B0702040204020203" pitchFamily="34" charset="0"/>
                <a:ea typeface="Segoe UI Black" panose="020B0A02040204020203" pitchFamily="34" charset="0"/>
                <a:cs typeface="Segoe UI Semibold" panose="020B0702040204020203" pitchFamily="34" charset="0"/>
              </a:rPr>
              <a:t>shhh</a:t>
            </a:r>
            <a:r>
              <a:rPr lang="en-US" sz="3600" spc="-101" dirty="0">
                <a:solidFill>
                  <a:srgbClr val="FFFFFF">
                    <a:lumMod val="95000"/>
                  </a:srgbClr>
                </a:solidFill>
                <a:latin typeface="Segoe UI Semibold" panose="020B0702040204020203" pitchFamily="34" charset="0"/>
                <a:ea typeface="Segoe UI Black" panose="020B0A02040204020203" pitchFamily="34" charset="0"/>
                <a:cs typeface="Segoe UI Semibold" panose="020B0702040204020203" pitchFamily="34" charset="0"/>
              </a:rPr>
              <a:t>!</a:t>
            </a:r>
          </a:p>
        </p:txBody>
      </p:sp>
      <p:grpSp>
        <p:nvGrpSpPr>
          <p:cNvPr id="4" name="Group 3"/>
          <p:cNvGrpSpPr/>
          <p:nvPr/>
        </p:nvGrpSpPr>
        <p:grpSpPr>
          <a:xfrm>
            <a:off x="5441832" y="2858039"/>
            <a:ext cx="4146925" cy="3942696"/>
            <a:chOff x="5159601" y="2598118"/>
            <a:chExt cx="3984665" cy="3788427"/>
          </a:xfrm>
        </p:grpSpPr>
        <p:sp>
          <p:nvSpPr>
            <p:cNvPr id="25" name="Oval 30"/>
            <p:cNvSpPr>
              <a:spLocks noChangeArrowheads="1"/>
            </p:cNvSpPr>
            <p:nvPr/>
          </p:nvSpPr>
          <p:spPr bwMode="black">
            <a:xfrm>
              <a:off x="7185277" y="2598118"/>
              <a:ext cx="1480482" cy="1480097"/>
            </a:xfrm>
            <a:prstGeom prst="ellipse">
              <a:avLst/>
            </a:prstGeom>
            <a:solidFill>
              <a:srgbClr val="505050"/>
            </a:solidFill>
            <a:ln w="57150">
              <a:solidFill>
                <a:srgbClr val="505050"/>
              </a:solidFill>
              <a:round/>
              <a:headEnd/>
              <a:tailEn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68567" tIns="34283" rIns="68567" bIns="34283" numCol="1" rtlCol="0" anchor="ctr" anchorCtr="0" compatLnSpc="1">
              <a:prstTxWarp prst="textNoShape">
                <a:avLst/>
              </a:prstTxWarp>
            </a:bodyPr>
            <a:lstStyle/>
            <a:p>
              <a:pPr defTabSz="555505"/>
              <a:endParaRPr lang="en-US" sz="1350" spc="-92" dirty="0">
                <a:solidFill>
                  <a:srgbClr val="505050">
                    <a:lumMod val="50000"/>
                  </a:srgbClr>
                </a:solidFill>
                <a:latin typeface="Segoe Light" pitchFamily="34" charset="0"/>
              </a:endParaRPr>
            </a:p>
          </p:txBody>
        </p:sp>
        <p:sp>
          <p:nvSpPr>
            <p:cNvPr id="17" name="Freeform 28"/>
            <p:cNvSpPr>
              <a:spLocks/>
            </p:cNvSpPr>
            <p:nvPr/>
          </p:nvSpPr>
          <p:spPr bwMode="black">
            <a:xfrm>
              <a:off x="6663724" y="4142280"/>
              <a:ext cx="2480542" cy="2087818"/>
            </a:xfrm>
            <a:custGeom>
              <a:avLst/>
              <a:gdLst>
                <a:gd name="T0" fmla="*/ 0 w 107"/>
                <a:gd name="T1" fmla="*/ 90 h 90"/>
                <a:gd name="T2" fmla="*/ 54 w 107"/>
                <a:gd name="T3" fmla="*/ 0 h 90"/>
                <a:gd name="T4" fmla="*/ 107 w 107"/>
                <a:gd name="T5" fmla="*/ 90 h 90"/>
                <a:gd name="T6" fmla="*/ 0 w 107"/>
                <a:gd name="T7" fmla="*/ 90 h 90"/>
              </a:gdLst>
              <a:ahLst/>
              <a:cxnLst>
                <a:cxn ang="0">
                  <a:pos x="T0" y="T1"/>
                </a:cxn>
                <a:cxn ang="0">
                  <a:pos x="T2" y="T3"/>
                </a:cxn>
                <a:cxn ang="0">
                  <a:pos x="T4" y="T5"/>
                </a:cxn>
                <a:cxn ang="0">
                  <a:pos x="T6" y="T7"/>
                </a:cxn>
              </a:cxnLst>
              <a:rect l="0" t="0" r="r" b="b"/>
              <a:pathLst>
                <a:path w="107" h="90">
                  <a:moveTo>
                    <a:pt x="0" y="90"/>
                  </a:moveTo>
                  <a:cubicBezTo>
                    <a:pt x="0" y="40"/>
                    <a:pt x="8" y="0"/>
                    <a:pt x="54" y="0"/>
                  </a:cubicBezTo>
                  <a:cubicBezTo>
                    <a:pt x="99" y="0"/>
                    <a:pt x="107" y="40"/>
                    <a:pt x="107" y="90"/>
                  </a:cubicBezTo>
                  <a:lnTo>
                    <a:pt x="0" y="90"/>
                  </a:lnTo>
                  <a:close/>
                </a:path>
              </a:pathLst>
            </a:custGeom>
            <a:solidFill>
              <a:srgbClr val="505050"/>
            </a:solidFill>
            <a:ln w="9525">
              <a:noFill/>
              <a:round/>
              <a:headEnd/>
              <a:tailEn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68567" tIns="34283" rIns="68567" bIns="34283" numCol="1" rtlCol="0" anchor="ctr" anchorCtr="0" compatLnSpc="1">
              <a:prstTxWarp prst="textNoShape">
                <a:avLst/>
              </a:prstTxWarp>
            </a:bodyPr>
            <a:lstStyle/>
            <a:p>
              <a:pPr defTabSz="555505"/>
              <a:endParaRPr lang="en-US" sz="1350" spc="-92" dirty="0">
                <a:solidFill>
                  <a:srgbClr val="505050">
                    <a:lumMod val="50000"/>
                  </a:srgbClr>
                </a:solidFill>
                <a:latin typeface="Segoe Light" pitchFamily="34" charset="0"/>
              </a:endParaRPr>
            </a:p>
          </p:txBody>
        </p:sp>
        <p:sp>
          <p:nvSpPr>
            <p:cNvPr id="21" name="Freeform 28"/>
            <p:cNvSpPr>
              <a:spLocks/>
            </p:cNvSpPr>
            <p:nvPr/>
          </p:nvSpPr>
          <p:spPr bwMode="black">
            <a:xfrm>
              <a:off x="5159601" y="4695232"/>
              <a:ext cx="2009452" cy="1691313"/>
            </a:xfrm>
            <a:custGeom>
              <a:avLst/>
              <a:gdLst>
                <a:gd name="T0" fmla="*/ 0 w 107"/>
                <a:gd name="T1" fmla="*/ 90 h 90"/>
                <a:gd name="T2" fmla="*/ 54 w 107"/>
                <a:gd name="T3" fmla="*/ 0 h 90"/>
                <a:gd name="T4" fmla="*/ 107 w 107"/>
                <a:gd name="T5" fmla="*/ 90 h 90"/>
                <a:gd name="T6" fmla="*/ 0 w 107"/>
                <a:gd name="T7" fmla="*/ 90 h 90"/>
              </a:gdLst>
              <a:ahLst/>
              <a:cxnLst>
                <a:cxn ang="0">
                  <a:pos x="T0" y="T1"/>
                </a:cxn>
                <a:cxn ang="0">
                  <a:pos x="T2" y="T3"/>
                </a:cxn>
                <a:cxn ang="0">
                  <a:pos x="T4" y="T5"/>
                </a:cxn>
                <a:cxn ang="0">
                  <a:pos x="T6" y="T7"/>
                </a:cxn>
              </a:cxnLst>
              <a:rect l="0" t="0" r="r" b="b"/>
              <a:pathLst>
                <a:path w="107" h="90">
                  <a:moveTo>
                    <a:pt x="0" y="90"/>
                  </a:moveTo>
                  <a:cubicBezTo>
                    <a:pt x="0" y="40"/>
                    <a:pt x="8" y="0"/>
                    <a:pt x="54" y="0"/>
                  </a:cubicBezTo>
                  <a:cubicBezTo>
                    <a:pt x="99" y="0"/>
                    <a:pt x="107" y="40"/>
                    <a:pt x="107" y="90"/>
                  </a:cubicBezTo>
                  <a:lnTo>
                    <a:pt x="0" y="90"/>
                  </a:lnTo>
                  <a:close/>
                </a:path>
              </a:pathLst>
            </a:custGeom>
            <a:solidFill>
              <a:srgbClr val="505050"/>
            </a:solidFill>
            <a:ln w="76200">
              <a:solidFill>
                <a:srgbClr val="00B0F0"/>
              </a:solidFill>
              <a:round/>
              <a:headEnd/>
              <a:tailEn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68567" tIns="34283" rIns="68567" bIns="34283" numCol="1" rtlCol="0" anchor="ctr" anchorCtr="0" compatLnSpc="1">
              <a:prstTxWarp prst="textNoShape">
                <a:avLst/>
              </a:prstTxWarp>
            </a:bodyPr>
            <a:lstStyle/>
            <a:p>
              <a:pPr defTabSz="555505"/>
              <a:endParaRPr lang="en-US" sz="1350" spc="-92" dirty="0">
                <a:solidFill>
                  <a:srgbClr val="505050">
                    <a:lumMod val="50000"/>
                  </a:srgbClr>
                </a:solidFill>
                <a:latin typeface="Segoe Light" pitchFamily="34" charset="0"/>
              </a:endParaRPr>
            </a:p>
          </p:txBody>
        </p:sp>
        <p:sp>
          <p:nvSpPr>
            <p:cNvPr id="22" name="Oval 30"/>
            <p:cNvSpPr>
              <a:spLocks noChangeArrowheads="1"/>
            </p:cNvSpPr>
            <p:nvPr/>
          </p:nvSpPr>
          <p:spPr bwMode="black">
            <a:xfrm>
              <a:off x="5586450" y="3442464"/>
              <a:ext cx="1199318" cy="1199005"/>
            </a:xfrm>
            <a:prstGeom prst="ellipse">
              <a:avLst/>
            </a:prstGeom>
            <a:solidFill>
              <a:srgbClr val="505050"/>
            </a:solidFill>
            <a:ln w="76200">
              <a:solidFill>
                <a:srgbClr val="505050"/>
              </a:solidFill>
              <a:round/>
              <a:headEnd/>
              <a:tailEn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68567" tIns="34283" rIns="68567" bIns="34283" numCol="1" rtlCol="0" anchor="ctr" anchorCtr="0" compatLnSpc="1">
              <a:prstTxWarp prst="textNoShape">
                <a:avLst/>
              </a:prstTxWarp>
            </a:bodyPr>
            <a:lstStyle/>
            <a:p>
              <a:pPr defTabSz="555505"/>
              <a:endParaRPr lang="en-US" sz="1350" spc="-92" dirty="0">
                <a:solidFill>
                  <a:srgbClr val="505050">
                    <a:lumMod val="50000"/>
                  </a:srgbClr>
                </a:solidFill>
                <a:latin typeface="Segoe Light" pitchFamily="34" charset="0"/>
              </a:endParaRPr>
            </a:p>
          </p:txBody>
        </p:sp>
        <p:sp>
          <p:nvSpPr>
            <p:cNvPr id="24" name="Freeform 23"/>
            <p:cNvSpPr/>
            <p:nvPr/>
          </p:nvSpPr>
          <p:spPr>
            <a:xfrm rot="20874566">
              <a:off x="6748053" y="3347851"/>
              <a:ext cx="841999" cy="823970"/>
            </a:xfrm>
            <a:custGeom>
              <a:avLst/>
              <a:gdLst>
                <a:gd name="connsiteX0" fmla="*/ 2921000 w 5359400"/>
                <a:gd name="connsiteY0" fmla="*/ 5257800 h 5257800"/>
                <a:gd name="connsiteX1" fmla="*/ 2921000 w 5359400"/>
                <a:gd name="connsiteY1" fmla="*/ 5257800 h 5257800"/>
                <a:gd name="connsiteX2" fmla="*/ 2641600 w 5359400"/>
                <a:gd name="connsiteY2" fmla="*/ 5257800 h 5257800"/>
                <a:gd name="connsiteX3" fmla="*/ 2057400 w 5359400"/>
                <a:gd name="connsiteY3" fmla="*/ 5016500 h 5257800"/>
                <a:gd name="connsiteX4" fmla="*/ 1676400 w 5359400"/>
                <a:gd name="connsiteY4" fmla="*/ 4635500 h 5257800"/>
                <a:gd name="connsiteX5" fmla="*/ 1473200 w 5359400"/>
                <a:gd name="connsiteY5" fmla="*/ 4178300 h 5257800"/>
                <a:gd name="connsiteX6" fmla="*/ 1295400 w 5359400"/>
                <a:gd name="connsiteY6" fmla="*/ 3683000 h 5257800"/>
                <a:gd name="connsiteX7" fmla="*/ 165100 w 5359400"/>
                <a:gd name="connsiteY7" fmla="*/ 2082800 h 5257800"/>
                <a:gd name="connsiteX8" fmla="*/ 0 w 5359400"/>
                <a:gd name="connsiteY8" fmla="*/ 1765300 h 5257800"/>
                <a:gd name="connsiteX9" fmla="*/ 165100 w 5359400"/>
                <a:gd name="connsiteY9" fmla="*/ 1587500 h 5257800"/>
                <a:gd name="connsiteX10" fmla="*/ 342900 w 5359400"/>
                <a:gd name="connsiteY10" fmla="*/ 1549400 h 5257800"/>
                <a:gd name="connsiteX11" fmla="*/ 673100 w 5359400"/>
                <a:gd name="connsiteY11" fmla="*/ 1803400 h 5257800"/>
                <a:gd name="connsiteX12" fmla="*/ 1320800 w 5359400"/>
                <a:gd name="connsiteY12" fmla="*/ 2806700 h 5257800"/>
                <a:gd name="connsiteX13" fmla="*/ 1524000 w 5359400"/>
                <a:gd name="connsiteY13" fmla="*/ 2908300 h 5257800"/>
                <a:gd name="connsiteX14" fmla="*/ 1562100 w 5359400"/>
                <a:gd name="connsiteY14" fmla="*/ 2819400 h 5257800"/>
                <a:gd name="connsiteX15" fmla="*/ 596900 w 5359400"/>
                <a:gd name="connsiteY15" fmla="*/ 1016000 h 5257800"/>
                <a:gd name="connsiteX16" fmla="*/ 736600 w 5359400"/>
                <a:gd name="connsiteY16" fmla="*/ 647700 h 5257800"/>
                <a:gd name="connsiteX17" fmla="*/ 1270000 w 5359400"/>
                <a:gd name="connsiteY17" fmla="*/ 800100 h 5257800"/>
                <a:gd name="connsiteX18" fmla="*/ 2006600 w 5359400"/>
                <a:gd name="connsiteY18" fmla="*/ 2273300 h 5257800"/>
                <a:gd name="connsiteX19" fmla="*/ 2171700 w 5359400"/>
                <a:gd name="connsiteY19" fmla="*/ 2349500 h 5257800"/>
                <a:gd name="connsiteX20" fmla="*/ 2235200 w 5359400"/>
                <a:gd name="connsiteY20" fmla="*/ 2133600 h 5257800"/>
                <a:gd name="connsiteX21" fmla="*/ 1549400 w 5359400"/>
                <a:gd name="connsiteY21" fmla="*/ 381000 h 5257800"/>
                <a:gd name="connsiteX22" fmla="*/ 1689100 w 5359400"/>
                <a:gd name="connsiteY22" fmla="*/ 114300 h 5257800"/>
                <a:gd name="connsiteX23" fmla="*/ 2133600 w 5359400"/>
                <a:gd name="connsiteY23" fmla="*/ 177800 h 5257800"/>
                <a:gd name="connsiteX24" fmla="*/ 2819400 w 5359400"/>
                <a:gd name="connsiteY24" fmla="*/ 1905000 h 5257800"/>
                <a:gd name="connsiteX25" fmla="*/ 3073400 w 5359400"/>
                <a:gd name="connsiteY25" fmla="*/ 2108200 h 5257800"/>
                <a:gd name="connsiteX26" fmla="*/ 2870200 w 5359400"/>
                <a:gd name="connsiteY26" fmla="*/ 342900 h 5257800"/>
                <a:gd name="connsiteX27" fmla="*/ 3162300 w 5359400"/>
                <a:gd name="connsiteY27" fmla="*/ 0 h 5257800"/>
                <a:gd name="connsiteX28" fmla="*/ 3556000 w 5359400"/>
                <a:gd name="connsiteY28" fmla="*/ 215900 h 5257800"/>
                <a:gd name="connsiteX29" fmla="*/ 3810000 w 5359400"/>
                <a:gd name="connsiteY29" fmla="*/ 2413000 h 5257800"/>
                <a:gd name="connsiteX30" fmla="*/ 3937000 w 5359400"/>
                <a:gd name="connsiteY30" fmla="*/ 2603500 h 5257800"/>
                <a:gd name="connsiteX31" fmla="*/ 4318000 w 5359400"/>
                <a:gd name="connsiteY31" fmla="*/ 1816100 h 5257800"/>
                <a:gd name="connsiteX32" fmla="*/ 4737100 w 5359400"/>
                <a:gd name="connsiteY32" fmla="*/ 1333500 h 5257800"/>
                <a:gd name="connsiteX33" fmla="*/ 5181600 w 5359400"/>
                <a:gd name="connsiteY33" fmla="*/ 1371600 h 5257800"/>
                <a:gd name="connsiteX34" fmla="*/ 5359400 w 5359400"/>
                <a:gd name="connsiteY34" fmla="*/ 1536700 h 5257800"/>
                <a:gd name="connsiteX35" fmla="*/ 4927600 w 5359400"/>
                <a:gd name="connsiteY35" fmla="*/ 2019300 h 5257800"/>
                <a:gd name="connsiteX36" fmla="*/ 4470400 w 5359400"/>
                <a:gd name="connsiteY36" fmla="*/ 4356100 h 5257800"/>
                <a:gd name="connsiteX37" fmla="*/ 4279900 w 5359400"/>
                <a:gd name="connsiteY37" fmla="*/ 4318000 h 5257800"/>
                <a:gd name="connsiteX38" fmla="*/ 3898900 w 5359400"/>
                <a:gd name="connsiteY38" fmla="*/ 4864100 h 5257800"/>
                <a:gd name="connsiteX39" fmla="*/ 3276600 w 5359400"/>
                <a:gd name="connsiteY39" fmla="*/ 5168900 h 5257800"/>
                <a:gd name="connsiteX0" fmla="*/ 2921000 w 5359400"/>
                <a:gd name="connsiteY0" fmla="*/ 5257800 h 5257800"/>
                <a:gd name="connsiteX1" fmla="*/ 2921000 w 5359400"/>
                <a:gd name="connsiteY1" fmla="*/ 5257800 h 5257800"/>
                <a:gd name="connsiteX2" fmla="*/ 2641600 w 5359400"/>
                <a:gd name="connsiteY2" fmla="*/ 5257800 h 5257800"/>
                <a:gd name="connsiteX3" fmla="*/ 2057400 w 5359400"/>
                <a:gd name="connsiteY3" fmla="*/ 5016500 h 5257800"/>
                <a:gd name="connsiteX4" fmla="*/ 1676400 w 5359400"/>
                <a:gd name="connsiteY4" fmla="*/ 4635500 h 5257800"/>
                <a:gd name="connsiteX5" fmla="*/ 1473200 w 5359400"/>
                <a:gd name="connsiteY5" fmla="*/ 4178300 h 5257800"/>
                <a:gd name="connsiteX6" fmla="*/ 1295400 w 5359400"/>
                <a:gd name="connsiteY6" fmla="*/ 3683000 h 5257800"/>
                <a:gd name="connsiteX7" fmla="*/ 165100 w 5359400"/>
                <a:gd name="connsiteY7" fmla="*/ 2082800 h 5257800"/>
                <a:gd name="connsiteX8" fmla="*/ 0 w 5359400"/>
                <a:gd name="connsiteY8" fmla="*/ 1765300 h 5257800"/>
                <a:gd name="connsiteX9" fmla="*/ 165100 w 5359400"/>
                <a:gd name="connsiteY9" fmla="*/ 1587500 h 5257800"/>
                <a:gd name="connsiteX10" fmla="*/ 342900 w 5359400"/>
                <a:gd name="connsiteY10" fmla="*/ 1549400 h 5257800"/>
                <a:gd name="connsiteX11" fmla="*/ 673100 w 5359400"/>
                <a:gd name="connsiteY11" fmla="*/ 1803400 h 5257800"/>
                <a:gd name="connsiteX12" fmla="*/ 1320800 w 5359400"/>
                <a:gd name="connsiteY12" fmla="*/ 2806700 h 5257800"/>
                <a:gd name="connsiteX13" fmla="*/ 1524000 w 5359400"/>
                <a:gd name="connsiteY13" fmla="*/ 2908300 h 5257800"/>
                <a:gd name="connsiteX14" fmla="*/ 1562100 w 5359400"/>
                <a:gd name="connsiteY14" fmla="*/ 2819400 h 5257800"/>
                <a:gd name="connsiteX15" fmla="*/ 596900 w 5359400"/>
                <a:gd name="connsiteY15" fmla="*/ 1016000 h 5257800"/>
                <a:gd name="connsiteX16" fmla="*/ 736600 w 5359400"/>
                <a:gd name="connsiteY16" fmla="*/ 647700 h 5257800"/>
                <a:gd name="connsiteX17" fmla="*/ 1270000 w 5359400"/>
                <a:gd name="connsiteY17" fmla="*/ 800100 h 5257800"/>
                <a:gd name="connsiteX18" fmla="*/ 2006600 w 5359400"/>
                <a:gd name="connsiteY18" fmla="*/ 2273300 h 5257800"/>
                <a:gd name="connsiteX19" fmla="*/ 2171700 w 5359400"/>
                <a:gd name="connsiteY19" fmla="*/ 2349500 h 5257800"/>
                <a:gd name="connsiteX20" fmla="*/ 2235200 w 5359400"/>
                <a:gd name="connsiteY20" fmla="*/ 2133600 h 5257800"/>
                <a:gd name="connsiteX21" fmla="*/ 1549400 w 5359400"/>
                <a:gd name="connsiteY21" fmla="*/ 381000 h 5257800"/>
                <a:gd name="connsiteX22" fmla="*/ 1689100 w 5359400"/>
                <a:gd name="connsiteY22" fmla="*/ 114300 h 5257800"/>
                <a:gd name="connsiteX23" fmla="*/ 2133600 w 5359400"/>
                <a:gd name="connsiteY23" fmla="*/ 177800 h 5257800"/>
                <a:gd name="connsiteX24" fmla="*/ 2819400 w 5359400"/>
                <a:gd name="connsiteY24" fmla="*/ 1905000 h 5257800"/>
                <a:gd name="connsiteX25" fmla="*/ 3073400 w 5359400"/>
                <a:gd name="connsiteY25" fmla="*/ 2108200 h 5257800"/>
                <a:gd name="connsiteX26" fmla="*/ 2870200 w 5359400"/>
                <a:gd name="connsiteY26" fmla="*/ 342900 h 5257800"/>
                <a:gd name="connsiteX27" fmla="*/ 3162300 w 5359400"/>
                <a:gd name="connsiteY27" fmla="*/ 0 h 5257800"/>
                <a:gd name="connsiteX28" fmla="*/ 3556000 w 5359400"/>
                <a:gd name="connsiteY28" fmla="*/ 215900 h 5257800"/>
                <a:gd name="connsiteX29" fmla="*/ 3810000 w 5359400"/>
                <a:gd name="connsiteY29" fmla="*/ 2413000 h 5257800"/>
                <a:gd name="connsiteX30" fmla="*/ 3937000 w 5359400"/>
                <a:gd name="connsiteY30" fmla="*/ 2603500 h 5257800"/>
                <a:gd name="connsiteX31" fmla="*/ 4318000 w 5359400"/>
                <a:gd name="connsiteY31" fmla="*/ 1816100 h 5257800"/>
                <a:gd name="connsiteX32" fmla="*/ 4737100 w 5359400"/>
                <a:gd name="connsiteY32" fmla="*/ 1333500 h 5257800"/>
                <a:gd name="connsiteX33" fmla="*/ 5181600 w 5359400"/>
                <a:gd name="connsiteY33" fmla="*/ 1371600 h 5257800"/>
                <a:gd name="connsiteX34" fmla="*/ 5359400 w 5359400"/>
                <a:gd name="connsiteY34" fmla="*/ 1536700 h 5257800"/>
                <a:gd name="connsiteX35" fmla="*/ 4927600 w 5359400"/>
                <a:gd name="connsiteY35" fmla="*/ 2019300 h 5257800"/>
                <a:gd name="connsiteX36" fmla="*/ 4279900 w 5359400"/>
                <a:gd name="connsiteY36" fmla="*/ 4318000 h 5257800"/>
                <a:gd name="connsiteX37" fmla="*/ 3898900 w 5359400"/>
                <a:gd name="connsiteY37" fmla="*/ 4864100 h 5257800"/>
                <a:gd name="connsiteX38" fmla="*/ 3276600 w 5359400"/>
                <a:gd name="connsiteY38" fmla="*/ 5168900 h 5257800"/>
                <a:gd name="connsiteX0" fmla="*/ 2921000 w 5359400"/>
                <a:gd name="connsiteY0" fmla="*/ 5257800 h 5257800"/>
                <a:gd name="connsiteX1" fmla="*/ 2921000 w 5359400"/>
                <a:gd name="connsiteY1" fmla="*/ 5257800 h 5257800"/>
                <a:gd name="connsiteX2" fmla="*/ 2641600 w 5359400"/>
                <a:gd name="connsiteY2" fmla="*/ 5257800 h 5257800"/>
                <a:gd name="connsiteX3" fmla="*/ 2057400 w 5359400"/>
                <a:gd name="connsiteY3" fmla="*/ 5016500 h 5257800"/>
                <a:gd name="connsiteX4" fmla="*/ 1676400 w 5359400"/>
                <a:gd name="connsiteY4" fmla="*/ 4635500 h 5257800"/>
                <a:gd name="connsiteX5" fmla="*/ 1473200 w 5359400"/>
                <a:gd name="connsiteY5" fmla="*/ 4178300 h 5257800"/>
                <a:gd name="connsiteX6" fmla="*/ 1295400 w 5359400"/>
                <a:gd name="connsiteY6" fmla="*/ 3683000 h 5257800"/>
                <a:gd name="connsiteX7" fmla="*/ 165100 w 5359400"/>
                <a:gd name="connsiteY7" fmla="*/ 2082800 h 5257800"/>
                <a:gd name="connsiteX8" fmla="*/ 0 w 5359400"/>
                <a:gd name="connsiteY8" fmla="*/ 1765300 h 5257800"/>
                <a:gd name="connsiteX9" fmla="*/ 165100 w 5359400"/>
                <a:gd name="connsiteY9" fmla="*/ 1587500 h 5257800"/>
                <a:gd name="connsiteX10" fmla="*/ 342900 w 5359400"/>
                <a:gd name="connsiteY10" fmla="*/ 1549400 h 5257800"/>
                <a:gd name="connsiteX11" fmla="*/ 673100 w 5359400"/>
                <a:gd name="connsiteY11" fmla="*/ 1803400 h 5257800"/>
                <a:gd name="connsiteX12" fmla="*/ 1320800 w 5359400"/>
                <a:gd name="connsiteY12" fmla="*/ 2806700 h 5257800"/>
                <a:gd name="connsiteX13" fmla="*/ 1524000 w 5359400"/>
                <a:gd name="connsiteY13" fmla="*/ 2908300 h 5257800"/>
                <a:gd name="connsiteX14" fmla="*/ 1562100 w 5359400"/>
                <a:gd name="connsiteY14" fmla="*/ 2819400 h 5257800"/>
                <a:gd name="connsiteX15" fmla="*/ 596900 w 5359400"/>
                <a:gd name="connsiteY15" fmla="*/ 1016000 h 5257800"/>
                <a:gd name="connsiteX16" fmla="*/ 736600 w 5359400"/>
                <a:gd name="connsiteY16" fmla="*/ 647700 h 5257800"/>
                <a:gd name="connsiteX17" fmla="*/ 1270000 w 5359400"/>
                <a:gd name="connsiteY17" fmla="*/ 800100 h 5257800"/>
                <a:gd name="connsiteX18" fmla="*/ 2006600 w 5359400"/>
                <a:gd name="connsiteY18" fmla="*/ 2273300 h 5257800"/>
                <a:gd name="connsiteX19" fmla="*/ 2171700 w 5359400"/>
                <a:gd name="connsiteY19" fmla="*/ 2349500 h 5257800"/>
                <a:gd name="connsiteX20" fmla="*/ 2235200 w 5359400"/>
                <a:gd name="connsiteY20" fmla="*/ 2133600 h 5257800"/>
                <a:gd name="connsiteX21" fmla="*/ 1549400 w 5359400"/>
                <a:gd name="connsiteY21" fmla="*/ 381000 h 5257800"/>
                <a:gd name="connsiteX22" fmla="*/ 1689100 w 5359400"/>
                <a:gd name="connsiteY22" fmla="*/ 114300 h 5257800"/>
                <a:gd name="connsiteX23" fmla="*/ 2133600 w 5359400"/>
                <a:gd name="connsiteY23" fmla="*/ 177800 h 5257800"/>
                <a:gd name="connsiteX24" fmla="*/ 2819400 w 5359400"/>
                <a:gd name="connsiteY24" fmla="*/ 1905000 h 5257800"/>
                <a:gd name="connsiteX25" fmla="*/ 3073400 w 5359400"/>
                <a:gd name="connsiteY25" fmla="*/ 2108200 h 5257800"/>
                <a:gd name="connsiteX26" fmla="*/ 2870200 w 5359400"/>
                <a:gd name="connsiteY26" fmla="*/ 342900 h 5257800"/>
                <a:gd name="connsiteX27" fmla="*/ 3162300 w 5359400"/>
                <a:gd name="connsiteY27" fmla="*/ 0 h 5257800"/>
                <a:gd name="connsiteX28" fmla="*/ 3556000 w 5359400"/>
                <a:gd name="connsiteY28" fmla="*/ 215900 h 5257800"/>
                <a:gd name="connsiteX29" fmla="*/ 3810000 w 5359400"/>
                <a:gd name="connsiteY29" fmla="*/ 2413000 h 5257800"/>
                <a:gd name="connsiteX30" fmla="*/ 3937000 w 5359400"/>
                <a:gd name="connsiteY30" fmla="*/ 2603500 h 5257800"/>
                <a:gd name="connsiteX31" fmla="*/ 4318000 w 5359400"/>
                <a:gd name="connsiteY31" fmla="*/ 1816100 h 5257800"/>
                <a:gd name="connsiteX32" fmla="*/ 4737100 w 5359400"/>
                <a:gd name="connsiteY32" fmla="*/ 1333500 h 5257800"/>
                <a:gd name="connsiteX33" fmla="*/ 5181600 w 5359400"/>
                <a:gd name="connsiteY33" fmla="*/ 1371600 h 5257800"/>
                <a:gd name="connsiteX34" fmla="*/ 5359400 w 5359400"/>
                <a:gd name="connsiteY34" fmla="*/ 1536700 h 5257800"/>
                <a:gd name="connsiteX35" fmla="*/ 4927600 w 5359400"/>
                <a:gd name="connsiteY35" fmla="*/ 2019300 h 5257800"/>
                <a:gd name="connsiteX36" fmla="*/ 4279900 w 5359400"/>
                <a:gd name="connsiteY36" fmla="*/ 4318000 h 5257800"/>
                <a:gd name="connsiteX37" fmla="*/ 3898900 w 5359400"/>
                <a:gd name="connsiteY37" fmla="*/ 4864100 h 5257800"/>
                <a:gd name="connsiteX38" fmla="*/ 3276600 w 5359400"/>
                <a:gd name="connsiteY38" fmla="*/ 5168900 h 5257800"/>
                <a:gd name="connsiteX39" fmla="*/ 2921000 w 5359400"/>
                <a:gd name="connsiteY39" fmla="*/ 5257800 h 5257800"/>
                <a:gd name="connsiteX0" fmla="*/ 2921000 w 5359400"/>
                <a:gd name="connsiteY0" fmla="*/ 5257800 h 5257800"/>
                <a:gd name="connsiteX1" fmla="*/ 2921000 w 5359400"/>
                <a:gd name="connsiteY1" fmla="*/ 5257800 h 5257800"/>
                <a:gd name="connsiteX2" fmla="*/ 2641600 w 5359400"/>
                <a:gd name="connsiteY2" fmla="*/ 5257800 h 5257800"/>
                <a:gd name="connsiteX3" fmla="*/ 2057400 w 5359400"/>
                <a:gd name="connsiteY3" fmla="*/ 5016500 h 5257800"/>
                <a:gd name="connsiteX4" fmla="*/ 1676400 w 5359400"/>
                <a:gd name="connsiteY4" fmla="*/ 4635500 h 5257800"/>
                <a:gd name="connsiteX5" fmla="*/ 1473200 w 5359400"/>
                <a:gd name="connsiteY5" fmla="*/ 4178300 h 5257800"/>
                <a:gd name="connsiteX6" fmla="*/ 1295400 w 5359400"/>
                <a:gd name="connsiteY6" fmla="*/ 3683000 h 5257800"/>
                <a:gd name="connsiteX7" fmla="*/ 165100 w 5359400"/>
                <a:gd name="connsiteY7" fmla="*/ 2082800 h 5257800"/>
                <a:gd name="connsiteX8" fmla="*/ 0 w 5359400"/>
                <a:gd name="connsiteY8" fmla="*/ 1765300 h 5257800"/>
                <a:gd name="connsiteX9" fmla="*/ 165100 w 5359400"/>
                <a:gd name="connsiteY9" fmla="*/ 1587500 h 5257800"/>
                <a:gd name="connsiteX10" fmla="*/ 342900 w 5359400"/>
                <a:gd name="connsiteY10" fmla="*/ 1549400 h 5257800"/>
                <a:gd name="connsiteX11" fmla="*/ 673100 w 5359400"/>
                <a:gd name="connsiteY11" fmla="*/ 1803400 h 5257800"/>
                <a:gd name="connsiteX12" fmla="*/ 1320800 w 5359400"/>
                <a:gd name="connsiteY12" fmla="*/ 2806700 h 5257800"/>
                <a:gd name="connsiteX13" fmla="*/ 1524000 w 5359400"/>
                <a:gd name="connsiteY13" fmla="*/ 2908300 h 5257800"/>
                <a:gd name="connsiteX14" fmla="*/ 1562100 w 5359400"/>
                <a:gd name="connsiteY14" fmla="*/ 2819400 h 5257800"/>
                <a:gd name="connsiteX15" fmla="*/ 596900 w 5359400"/>
                <a:gd name="connsiteY15" fmla="*/ 1016000 h 5257800"/>
                <a:gd name="connsiteX16" fmla="*/ 736600 w 5359400"/>
                <a:gd name="connsiteY16" fmla="*/ 647700 h 5257800"/>
                <a:gd name="connsiteX17" fmla="*/ 1270000 w 5359400"/>
                <a:gd name="connsiteY17" fmla="*/ 800100 h 5257800"/>
                <a:gd name="connsiteX18" fmla="*/ 2006600 w 5359400"/>
                <a:gd name="connsiteY18" fmla="*/ 2273300 h 5257800"/>
                <a:gd name="connsiteX19" fmla="*/ 2171700 w 5359400"/>
                <a:gd name="connsiteY19" fmla="*/ 2349500 h 5257800"/>
                <a:gd name="connsiteX20" fmla="*/ 2235200 w 5359400"/>
                <a:gd name="connsiteY20" fmla="*/ 2133600 h 5257800"/>
                <a:gd name="connsiteX21" fmla="*/ 1549400 w 5359400"/>
                <a:gd name="connsiteY21" fmla="*/ 381000 h 5257800"/>
                <a:gd name="connsiteX22" fmla="*/ 1689100 w 5359400"/>
                <a:gd name="connsiteY22" fmla="*/ 114300 h 5257800"/>
                <a:gd name="connsiteX23" fmla="*/ 2133600 w 5359400"/>
                <a:gd name="connsiteY23" fmla="*/ 177800 h 5257800"/>
                <a:gd name="connsiteX24" fmla="*/ 2819400 w 5359400"/>
                <a:gd name="connsiteY24" fmla="*/ 1905000 h 5257800"/>
                <a:gd name="connsiteX25" fmla="*/ 3073400 w 5359400"/>
                <a:gd name="connsiteY25" fmla="*/ 2108200 h 5257800"/>
                <a:gd name="connsiteX26" fmla="*/ 2870200 w 5359400"/>
                <a:gd name="connsiteY26" fmla="*/ 342900 h 5257800"/>
                <a:gd name="connsiteX27" fmla="*/ 3162300 w 5359400"/>
                <a:gd name="connsiteY27" fmla="*/ 0 h 5257800"/>
                <a:gd name="connsiteX28" fmla="*/ 3556000 w 5359400"/>
                <a:gd name="connsiteY28" fmla="*/ 215900 h 5257800"/>
                <a:gd name="connsiteX29" fmla="*/ 3810000 w 5359400"/>
                <a:gd name="connsiteY29" fmla="*/ 2413000 h 5257800"/>
                <a:gd name="connsiteX30" fmla="*/ 3937000 w 5359400"/>
                <a:gd name="connsiteY30" fmla="*/ 2603500 h 5257800"/>
                <a:gd name="connsiteX31" fmla="*/ 4318000 w 5359400"/>
                <a:gd name="connsiteY31" fmla="*/ 1816100 h 5257800"/>
                <a:gd name="connsiteX32" fmla="*/ 4737100 w 5359400"/>
                <a:gd name="connsiteY32" fmla="*/ 1333500 h 5257800"/>
                <a:gd name="connsiteX33" fmla="*/ 5181600 w 5359400"/>
                <a:gd name="connsiteY33" fmla="*/ 1371600 h 5257800"/>
                <a:gd name="connsiteX34" fmla="*/ 5359400 w 5359400"/>
                <a:gd name="connsiteY34" fmla="*/ 1536700 h 5257800"/>
                <a:gd name="connsiteX35" fmla="*/ 4927600 w 5359400"/>
                <a:gd name="connsiteY35" fmla="*/ 2019300 h 5257800"/>
                <a:gd name="connsiteX36" fmla="*/ 4279900 w 5359400"/>
                <a:gd name="connsiteY36" fmla="*/ 4318000 h 5257800"/>
                <a:gd name="connsiteX37" fmla="*/ 3898900 w 5359400"/>
                <a:gd name="connsiteY37" fmla="*/ 4864100 h 5257800"/>
                <a:gd name="connsiteX38" fmla="*/ 3276600 w 5359400"/>
                <a:gd name="connsiteY38" fmla="*/ 5168900 h 5257800"/>
                <a:gd name="connsiteX39" fmla="*/ 2921000 w 5359400"/>
                <a:gd name="connsiteY39" fmla="*/ 5257800 h 5257800"/>
                <a:gd name="connsiteX0" fmla="*/ 2921000 w 5359400"/>
                <a:gd name="connsiteY0" fmla="*/ 5257800 h 5257800"/>
                <a:gd name="connsiteX1" fmla="*/ 2921000 w 5359400"/>
                <a:gd name="connsiteY1" fmla="*/ 5257800 h 5257800"/>
                <a:gd name="connsiteX2" fmla="*/ 2641600 w 5359400"/>
                <a:gd name="connsiteY2" fmla="*/ 5257800 h 5257800"/>
                <a:gd name="connsiteX3" fmla="*/ 2057400 w 5359400"/>
                <a:gd name="connsiteY3" fmla="*/ 5016500 h 5257800"/>
                <a:gd name="connsiteX4" fmla="*/ 1676400 w 5359400"/>
                <a:gd name="connsiteY4" fmla="*/ 4635500 h 5257800"/>
                <a:gd name="connsiteX5" fmla="*/ 1473200 w 5359400"/>
                <a:gd name="connsiteY5" fmla="*/ 4178300 h 5257800"/>
                <a:gd name="connsiteX6" fmla="*/ 1295400 w 5359400"/>
                <a:gd name="connsiteY6" fmla="*/ 3683000 h 5257800"/>
                <a:gd name="connsiteX7" fmla="*/ 165100 w 5359400"/>
                <a:gd name="connsiteY7" fmla="*/ 2082800 h 5257800"/>
                <a:gd name="connsiteX8" fmla="*/ 0 w 5359400"/>
                <a:gd name="connsiteY8" fmla="*/ 1765300 h 5257800"/>
                <a:gd name="connsiteX9" fmla="*/ 165100 w 5359400"/>
                <a:gd name="connsiteY9" fmla="*/ 1587500 h 5257800"/>
                <a:gd name="connsiteX10" fmla="*/ 342900 w 5359400"/>
                <a:gd name="connsiteY10" fmla="*/ 1549400 h 5257800"/>
                <a:gd name="connsiteX11" fmla="*/ 673100 w 5359400"/>
                <a:gd name="connsiteY11" fmla="*/ 1803400 h 5257800"/>
                <a:gd name="connsiteX12" fmla="*/ 1320800 w 5359400"/>
                <a:gd name="connsiteY12" fmla="*/ 2806700 h 5257800"/>
                <a:gd name="connsiteX13" fmla="*/ 1524000 w 5359400"/>
                <a:gd name="connsiteY13" fmla="*/ 2908300 h 5257800"/>
                <a:gd name="connsiteX14" fmla="*/ 1562100 w 5359400"/>
                <a:gd name="connsiteY14" fmla="*/ 2819400 h 5257800"/>
                <a:gd name="connsiteX15" fmla="*/ 596900 w 5359400"/>
                <a:gd name="connsiteY15" fmla="*/ 1016000 h 5257800"/>
                <a:gd name="connsiteX16" fmla="*/ 736600 w 5359400"/>
                <a:gd name="connsiteY16" fmla="*/ 647700 h 5257800"/>
                <a:gd name="connsiteX17" fmla="*/ 1270000 w 5359400"/>
                <a:gd name="connsiteY17" fmla="*/ 800100 h 5257800"/>
                <a:gd name="connsiteX18" fmla="*/ 2006600 w 5359400"/>
                <a:gd name="connsiteY18" fmla="*/ 2273300 h 5257800"/>
                <a:gd name="connsiteX19" fmla="*/ 2171700 w 5359400"/>
                <a:gd name="connsiteY19" fmla="*/ 2349500 h 5257800"/>
                <a:gd name="connsiteX20" fmla="*/ 2235200 w 5359400"/>
                <a:gd name="connsiteY20" fmla="*/ 2133600 h 5257800"/>
                <a:gd name="connsiteX21" fmla="*/ 1549400 w 5359400"/>
                <a:gd name="connsiteY21" fmla="*/ 381000 h 5257800"/>
                <a:gd name="connsiteX22" fmla="*/ 1689100 w 5359400"/>
                <a:gd name="connsiteY22" fmla="*/ 114300 h 5257800"/>
                <a:gd name="connsiteX23" fmla="*/ 2133600 w 5359400"/>
                <a:gd name="connsiteY23" fmla="*/ 177800 h 5257800"/>
                <a:gd name="connsiteX24" fmla="*/ 2819400 w 5359400"/>
                <a:gd name="connsiteY24" fmla="*/ 1905000 h 5257800"/>
                <a:gd name="connsiteX25" fmla="*/ 3073400 w 5359400"/>
                <a:gd name="connsiteY25" fmla="*/ 2108200 h 5257800"/>
                <a:gd name="connsiteX26" fmla="*/ 2870200 w 5359400"/>
                <a:gd name="connsiteY26" fmla="*/ 342900 h 5257800"/>
                <a:gd name="connsiteX27" fmla="*/ 3162300 w 5359400"/>
                <a:gd name="connsiteY27" fmla="*/ 0 h 5257800"/>
                <a:gd name="connsiteX28" fmla="*/ 3556000 w 5359400"/>
                <a:gd name="connsiteY28" fmla="*/ 215900 h 5257800"/>
                <a:gd name="connsiteX29" fmla="*/ 3810000 w 5359400"/>
                <a:gd name="connsiteY29" fmla="*/ 2413000 h 5257800"/>
                <a:gd name="connsiteX30" fmla="*/ 3937000 w 5359400"/>
                <a:gd name="connsiteY30" fmla="*/ 2603500 h 5257800"/>
                <a:gd name="connsiteX31" fmla="*/ 4318000 w 5359400"/>
                <a:gd name="connsiteY31" fmla="*/ 1816100 h 5257800"/>
                <a:gd name="connsiteX32" fmla="*/ 4737100 w 5359400"/>
                <a:gd name="connsiteY32" fmla="*/ 1333500 h 5257800"/>
                <a:gd name="connsiteX33" fmla="*/ 5181600 w 5359400"/>
                <a:gd name="connsiteY33" fmla="*/ 1371600 h 5257800"/>
                <a:gd name="connsiteX34" fmla="*/ 5359400 w 5359400"/>
                <a:gd name="connsiteY34" fmla="*/ 1536700 h 5257800"/>
                <a:gd name="connsiteX35" fmla="*/ 4927600 w 5359400"/>
                <a:gd name="connsiteY35" fmla="*/ 2019300 h 5257800"/>
                <a:gd name="connsiteX36" fmla="*/ 4279900 w 5359400"/>
                <a:gd name="connsiteY36" fmla="*/ 4318000 h 5257800"/>
                <a:gd name="connsiteX37" fmla="*/ 3898900 w 5359400"/>
                <a:gd name="connsiteY37" fmla="*/ 4864100 h 5257800"/>
                <a:gd name="connsiteX38" fmla="*/ 3276600 w 5359400"/>
                <a:gd name="connsiteY38" fmla="*/ 5168900 h 5257800"/>
                <a:gd name="connsiteX39" fmla="*/ 2921000 w 5359400"/>
                <a:gd name="connsiteY39" fmla="*/ 5257800 h 5257800"/>
                <a:gd name="connsiteX0" fmla="*/ 2921000 w 5359400"/>
                <a:gd name="connsiteY0" fmla="*/ 5257800 h 5275674"/>
                <a:gd name="connsiteX1" fmla="*/ 2921000 w 5359400"/>
                <a:gd name="connsiteY1" fmla="*/ 5257800 h 5275674"/>
                <a:gd name="connsiteX2" fmla="*/ 2641600 w 5359400"/>
                <a:gd name="connsiteY2" fmla="*/ 5257800 h 5275674"/>
                <a:gd name="connsiteX3" fmla="*/ 2057400 w 5359400"/>
                <a:gd name="connsiteY3" fmla="*/ 5016500 h 5275674"/>
                <a:gd name="connsiteX4" fmla="*/ 1676400 w 5359400"/>
                <a:gd name="connsiteY4" fmla="*/ 4635500 h 5275674"/>
                <a:gd name="connsiteX5" fmla="*/ 1473200 w 5359400"/>
                <a:gd name="connsiteY5" fmla="*/ 4178300 h 5275674"/>
                <a:gd name="connsiteX6" fmla="*/ 1295400 w 5359400"/>
                <a:gd name="connsiteY6" fmla="*/ 3683000 h 5275674"/>
                <a:gd name="connsiteX7" fmla="*/ 165100 w 5359400"/>
                <a:gd name="connsiteY7" fmla="*/ 2082800 h 5275674"/>
                <a:gd name="connsiteX8" fmla="*/ 0 w 5359400"/>
                <a:gd name="connsiteY8" fmla="*/ 1765300 h 5275674"/>
                <a:gd name="connsiteX9" fmla="*/ 165100 w 5359400"/>
                <a:gd name="connsiteY9" fmla="*/ 1587500 h 5275674"/>
                <a:gd name="connsiteX10" fmla="*/ 342900 w 5359400"/>
                <a:gd name="connsiteY10" fmla="*/ 1549400 h 5275674"/>
                <a:gd name="connsiteX11" fmla="*/ 673100 w 5359400"/>
                <a:gd name="connsiteY11" fmla="*/ 1803400 h 5275674"/>
                <a:gd name="connsiteX12" fmla="*/ 1320800 w 5359400"/>
                <a:gd name="connsiteY12" fmla="*/ 2806700 h 5275674"/>
                <a:gd name="connsiteX13" fmla="*/ 1524000 w 5359400"/>
                <a:gd name="connsiteY13" fmla="*/ 2908300 h 5275674"/>
                <a:gd name="connsiteX14" fmla="*/ 1562100 w 5359400"/>
                <a:gd name="connsiteY14" fmla="*/ 2819400 h 5275674"/>
                <a:gd name="connsiteX15" fmla="*/ 596900 w 5359400"/>
                <a:gd name="connsiteY15" fmla="*/ 1016000 h 5275674"/>
                <a:gd name="connsiteX16" fmla="*/ 736600 w 5359400"/>
                <a:gd name="connsiteY16" fmla="*/ 647700 h 5275674"/>
                <a:gd name="connsiteX17" fmla="*/ 1270000 w 5359400"/>
                <a:gd name="connsiteY17" fmla="*/ 800100 h 5275674"/>
                <a:gd name="connsiteX18" fmla="*/ 2006600 w 5359400"/>
                <a:gd name="connsiteY18" fmla="*/ 2273300 h 5275674"/>
                <a:gd name="connsiteX19" fmla="*/ 2171700 w 5359400"/>
                <a:gd name="connsiteY19" fmla="*/ 2349500 h 5275674"/>
                <a:gd name="connsiteX20" fmla="*/ 2235200 w 5359400"/>
                <a:gd name="connsiteY20" fmla="*/ 2133600 h 5275674"/>
                <a:gd name="connsiteX21" fmla="*/ 1549400 w 5359400"/>
                <a:gd name="connsiteY21" fmla="*/ 381000 h 5275674"/>
                <a:gd name="connsiteX22" fmla="*/ 1689100 w 5359400"/>
                <a:gd name="connsiteY22" fmla="*/ 114300 h 5275674"/>
                <a:gd name="connsiteX23" fmla="*/ 2133600 w 5359400"/>
                <a:gd name="connsiteY23" fmla="*/ 177800 h 5275674"/>
                <a:gd name="connsiteX24" fmla="*/ 2819400 w 5359400"/>
                <a:gd name="connsiteY24" fmla="*/ 1905000 h 5275674"/>
                <a:gd name="connsiteX25" fmla="*/ 3073400 w 5359400"/>
                <a:gd name="connsiteY25" fmla="*/ 2108200 h 5275674"/>
                <a:gd name="connsiteX26" fmla="*/ 2870200 w 5359400"/>
                <a:gd name="connsiteY26" fmla="*/ 342900 h 5275674"/>
                <a:gd name="connsiteX27" fmla="*/ 3162300 w 5359400"/>
                <a:gd name="connsiteY27" fmla="*/ 0 h 5275674"/>
                <a:gd name="connsiteX28" fmla="*/ 3556000 w 5359400"/>
                <a:gd name="connsiteY28" fmla="*/ 215900 h 5275674"/>
                <a:gd name="connsiteX29" fmla="*/ 3810000 w 5359400"/>
                <a:gd name="connsiteY29" fmla="*/ 2413000 h 5275674"/>
                <a:gd name="connsiteX30" fmla="*/ 3937000 w 5359400"/>
                <a:gd name="connsiteY30" fmla="*/ 2603500 h 5275674"/>
                <a:gd name="connsiteX31" fmla="*/ 4318000 w 5359400"/>
                <a:gd name="connsiteY31" fmla="*/ 1816100 h 5275674"/>
                <a:gd name="connsiteX32" fmla="*/ 4737100 w 5359400"/>
                <a:gd name="connsiteY32" fmla="*/ 1333500 h 5275674"/>
                <a:gd name="connsiteX33" fmla="*/ 5181600 w 5359400"/>
                <a:gd name="connsiteY33" fmla="*/ 1371600 h 5275674"/>
                <a:gd name="connsiteX34" fmla="*/ 5359400 w 5359400"/>
                <a:gd name="connsiteY34" fmla="*/ 1536700 h 5275674"/>
                <a:gd name="connsiteX35" fmla="*/ 4927600 w 5359400"/>
                <a:gd name="connsiteY35" fmla="*/ 2019300 h 5275674"/>
                <a:gd name="connsiteX36" fmla="*/ 4279900 w 5359400"/>
                <a:gd name="connsiteY36" fmla="*/ 4318000 h 5275674"/>
                <a:gd name="connsiteX37" fmla="*/ 3898900 w 5359400"/>
                <a:gd name="connsiteY37" fmla="*/ 4864100 h 5275674"/>
                <a:gd name="connsiteX38" fmla="*/ 3276600 w 5359400"/>
                <a:gd name="connsiteY38" fmla="*/ 5168900 h 5275674"/>
                <a:gd name="connsiteX39" fmla="*/ 2921000 w 5359400"/>
                <a:gd name="connsiteY39" fmla="*/ 5257800 h 5275674"/>
                <a:gd name="connsiteX0" fmla="*/ 2921000 w 5359400"/>
                <a:gd name="connsiteY0" fmla="*/ 5257800 h 5275674"/>
                <a:gd name="connsiteX1" fmla="*/ 2921000 w 5359400"/>
                <a:gd name="connsiteY1" fmla="*/ 5257800 h 5275674"/>
                <a:gd name="connsiteX2" fmla="*/ 2641600 w 5359400"/>
                <a:gd name="connsiteY2" fmla="*/ 5257800 h 5275674"/>
                <a:gd name="connsiteX3" fmla="*/ 2057400 w 5359400"/>
                <a:gd name="connsiteY3" fmla="*/ 5016500 h 5275674"/>
                <a:gd name="connsiteX4" fmla="*/ 1676400 w 5359400"/>
                <a:gd name="connsiteY4" fmla="*/ 4635500 h 5275674"/>
                <a:gd name="connsiteX5" fmla="*/ 1473200 w 5359400"/>
                <a:gd name="connsiteY5" fmla="*/ 4178300 h 5275674"/>
                <a:gd name="connsiteX6" fmla="*/ 1295400 w 5359400"/>
                <a:gd name="connsiteY6" fmla="*/ 3683000 h 5275674"/>
                <a:gd name="connsiteX7" fmla="*/ 165100 w 5359400"/>
                <a:gd name="connsiteY7" fmla="*/ 2082800 h 5275674"/>
                <a:gd name="connsiteX8" fmla="*/ 0 w 5359400"/>
                <a:gd name="connsiteY8" fmla="*/ 1765300 h 5275674"/>
                <a:gd name="connsiteX9" fmla="*/ 165100 w 5359400"/>
                <a:gd name="connsiteY9" fmla="*/ 1587500 h 5275674"/>
                <a:gd name="connsiteX10" fmla="*/ 342900 w 5359400"/>
                <a:gd name="connsiteY10" fmla="*/ 1549400 h 5275674"/>
                <a:gd name="connsiteX11" fmla="*/ 673100 w 5359400"/>
                <a:gd name="connsiteY11" fmla="*/ 1803400 h 5275674"/>
                <a:gd name="connsiteX12" fmla="*/ 1320800 w 5359400"/>
                <a:gd name="connsiteY12" fmla="*/ 2806700 h 5275674"/>
                <a:gd name="connsiteX13" fmla="*/ 1524000 w 5359400"/>
                <a:gd name="connsiteY13" fmla="*/ 2908300 h 5275674"/>
                <a:gd name="connsiteX14" fmla="*/ 1562100 w 5359400"/>
                <a:gd name="connsiteY14" fmla="*/ 2819400 h 5275674"/>
                <a:gd name="connsiteX15" fmla="*/ 596900 w 5359400"/>
                <a:gd name="connsiteY15" fmla="*/ 1016000 h 5275674"/>
                <a:gd name="connsiteX16" fmla="*/ 736600 w 5359400"/>
                <a:gd name="connsiteY16" fmla="*/ 647700 h 5275674"/>
                <a:gd name="connsiteX17" fmla="*/ 1270000 w 5359400"/>
                <a:gd name="connsiteY17" fmla="*/ 800100 h 5275674"/>
                <a:gd name="connsiteX18" fmla="*/ 2006600 w 5359400"/>
                <a:gd name="connsiteY18" fmla="*/ 2273300 h 5275674"/>
                <a:gd name="connsiteX19" fmla="*/ 2171700 w 5359400"/>
                <a:gd name="connsiteY19" fmla="*/ 2349500 h 5275674"/>
                <a:gd name="connsiteX20" fmla="*/ 2235200 w 5359400"/>
                <a:gd name="connsiteY20" fmla="*/ 2133600 h 5275674"/>
                <a:gd name="connsiteX21" fmla="*/ 1549400 w 5359400"/>
                <a:gd name="connsiteY21" fmla="*/ 381000 h 5275674"/>
                <a:gd name="connsiteX22" fmla="*/ 1689100 w 5359400"/>
                <a:gd name="connsiteY22" fmla="*/ 114300 h 5275674"/>
                <a:gd name="connsiteX23" fmla="*/ 2133600 w 5359400"/>
                <a:gd name="connsiteY23" fmla="*/ 177800 h 5275674"/>
                <a:gd name="connsiteX24" fmla="*/ 2819400 w 5359400"/>
                <a:gd name="connsiteY24" fmla="*/ 1905000 h 5275674"/>
                <a:gd name="connsiteX25" fmla="*/ 3073400 w 5359400"/>
                <a:gd name="connsiteY25" fmla="*/ 2108200 h 5275674"/>
                <a:gd name="connsiteX26" fmla="*/ 2870200 w 5359400"/>
                <a:gd name="connsiteY26" fmla="*/ 342900 h 5275674"/>
                <a:gd name="connsiteX27" fmla="*/ 3162300 w 5359400"/>
                <a:gd name="connsiteY27" fmla="*/ 0 h 5275674"/>
                <a:gd name="connsiteX28" fmla="*/ 3556000 w 5359400"/>
                <a:gd name="connsiteY28" fmla="*/ 215900 h 5275674"/>
                <a:gd name="connsiteX29" fmla="*/ 3810000 w 5359400"/>
                <a:gd name="connsiteY29" fmla="*/ 2413000 h 5275674"/>
                <a:gd name="connsiteX30" fmla="*/ 3937000 w 5359400"/>
                <a:gd name="connsiteY30" fmla="*/ 2603500 h 5275674"/>
                <a:gd name="connsiteX31" fmla="*/ 4318000 w 5359400"/>
                <a:gd name="connsiteY31" fmla="*/ 1816100 h 5275674"/>
                <a:gd name="connsiteX32" fmla="*/ 4737100 w 5359400"/>
                <a:gd name="connsiteY32" fmla="*/ 1333500 h 5275674"/>
                <a:gd name="connsiteX33" fmla="*/ 5181600 w 5359400"/>
                <a:gd name="connsiteY33" fmla="*/ 1371600 h 5275674"/>
                <a:gd name="connsiteX34" fmla="*/ 5359400 w 5359400"/>
                <a:gd name="connsiteY34" fmla="*/ 1536700 h 5275674"/>
                <a:gd name="connsiteX35" fmla="*/ 4927600 w 5359400"/>
                <a:gd name="connsiteY35" fmla="*/ 2019300 h 5275674"/>
                <a:gd name="connsiteX36" fmla="*/ 4279900 w 5359400"/>
                <a:gd name="connsiteY36" fmla="*/ 4318000 h 5275674"/>
                <a:gd name="connsiteX37" fmla="*/ 3898900 w 5359400"/>
                <a:gd name="connsiteY37" fmla="*/ 4864100 h 5275674"/>
                <a:gd name="connsiteX38" fmla="*/ 3276600 w 5359400"/>
                <a:gd name="connsiteY38" fmla="*/ 5168900 h 5275674"/>
                <a:gd name="connsiteX39" fmla="*/ 2921000 w 5359400"/>
                <a:gd name="connsiteY39" fmla="*/ 5257800 h 5275674"/>
                <a:gd name="connsiteX0" fmla="*/ 2921000 w 5359400"/>
                <a:gd name="connsiteY0" fmla="*/ 5257800 h 5275674"/>
                <a:gd name="connsiteX1" fmla="*/ 2921000 w 5359400"/>
                <a:gd name="connsiteY1" fmla="*/ 5257800 h 5275674"/>
                <a:gd name="connsiteX2" fmla="*/ 2641600 w 5359400"/>
                <a:gd name="connsiteY2" fmla="*/ 5257800 h 5275674"/>
                <a:gd name="connsiteX3" fmla="*/ 2057400 w 5359400"/>
                <a:gd name="connsiteY3" fmla="*/ 5016500 h 5275674"/>
                <a:gd name="connsiteX4" fmla="*/ 1676400 w 5359400"/>
                <a:gd name="connsiteY4" fmla="*/ 4635500 h 5275674"/>
                <a:gd name="connsiteX5" fmla="*/ 1473200 w 5359400"/>
                <a:gd name="connsiteY5" fmla="*/ 4178300 h 5275674"/>
                <a:gd name="connsiteX6" fmla="*/ 1295400 w 5359400"/>
                <a:gd name="connsiteY6" fmla="*/ 3683000 h 5275674"/>
                <a:gd name="connsiteX7" fmla="*/ 165100 w 5359400"/>
                <a:gd name="connsiteY7" fmla="*/ 2082800 h 5275674"/>
                <a:gd name="connsiteX8" fmla="*/ 0 w 5359400"/>
                <a:gd name="connsiteY8" fmla="*/ 1765300 h 5275674"/>
                <a:gd name="connsiteX9" fmla="*/ 165100 w 5359400"/>
                <a:gd name="connsiteY9" fmla="*/ 1587500 h 5275674"/>
                <a:gd name="connsiteX10" fmla="*/ 342900 w 5359400"/>
                <a:gd name="connsiteY10" fmla="*/ 1549400 h 5275674"/>
                <a:gd name="connsiteX11" fmla="*/ 673100 w 5359400"/>
                <a:gd name="connsiteY11" fmla="*/ 1803400 h 5275674"/>
                <a:gd name="connsiteX12" fmla="*/ 1320800 w 5359400"/>
                <a:gd name="connsiteY12" fmla="*/ 2806700 h 5275674"/>
                <a:gd name="connsiteX13" fmla="*/ 1524000 w 5359400"/>
                <a:gd name="connsiteY13" fmla="*/ 2908300 h 5275674"/>
                <a:gd name="connsiteX14" fmla="*/ 1562100 w 5359400"/>
                <a:gd name="connsiteY14" fmla="*/ 2819400 h 5275674"/>
                <a:gd name="connsiteX15" fmla="*/ 596900 w 5359400"/>
                <a:gd name="connsiteY15" fmla="*/ 1016000 h 5275674"/>
                <a:gd name="connsiteX16" fmla="*/ 736600 w 5359400"/>
                <a:gd name="connsiteY16" fmla="*/ 647700 h 5275674"/>
                <a:gd name="connsiteX17" fmla="*/ 1270000 w 5359400"/>
                <a:gd name="connsiteY17" fmla="*/ 800100 h 5275674"/>
                <a:gd name="connsiteX18" fmla="*/ 2006600 w 5359400"/>
                <a:gd name="connsiteY18" fmla="*/ 2273300 h 5275674"/>
                <a:gd name="connsiteX19" fmla="*/ 2171700 w 5359400"/>
                <a:gd name="connsiteY19" fmla="*/ 2349500 h 5275674"/>
                <a:gd name="connsiteX20" fmla="*/ 2235200 w 5359400"/>
                <a:gd name="connsiteY20" fmla="*/ 2133600 h 5275674"/>
                <a:gd name="connsiteX21" fmla="*/ 1549400 w 5359400"/>
                <a:gd name="connsiteY21" fmla="*/ 381000 h 5275674"/>
                <a:gd name="connsiteX22" fmla="*/ 1689100 w 5359400"/>
                <a:gd name="connsiteY22" fmla="*/ 114300 h 5275674"/>
                <a:gd name="connsiteX23" fmla="*/ 2133600 w 5359400"/>
                <a:gd name="connsiteY23" fmla="*/ 177800 h 5275674"/>
                <a:gd name="connsiteX24" fmla="*/ 2819400 w 5359400"/>
                <a:gd name="connsiteY24" fmla="*/ 1905000 h 5275674"/>
                <a:gd name="connsiteX25" fmla="*/ 3073400 w 5359400"/>
                <a:gd name="connsiteY25" fmla="*/ 2108200 h 5275674"/>
                <a:gd name="connsiteX26" fmla="*/ 2870200 w 5359400"/>
                <a:gd name="connsiteY26" fmla="*/ 342900 h 5275674"/>
                <a:gd name="connsiteX27" fmla="*/ 3162300 w 5359400"/>
                <a:gd name="connsiteY27" fmla="*/ 0 h 5275674"/>
                <a:gd name="connsiteX28" fmla="*/ 3556000 w 5359400"/>
                <a:gd name="connsiteY28" fmla="*/ 215900 h 5275674"/>
                <a:gd name="connsiteX29" fmla="*/ 3810000 w 5359400"/>
                <a:gd name="connsiteY29" fmla="*/ 2413000 h 5275674"/>
                <a:gd name="connsiteX30" fmla="*/ 3937000 w 5359400"/>
                <a:gd name="connsiteY30" fmla="*/ 2603500 h 5275674"/>
                <a:gd name="connsiteX31" fmla="*/ 4318000 w 5359400"/>
                <a:gd name="connsiteY31" fmla="*/ 1816100 h 5275674"/>
                <a:gd name="connsiteX32" fmla="*/ 4737100 w 5359400"/>
                <a:gd name="connsiteY32" fmla="*/ 1333500 h 5275674"/>
                <a:gd name="connsiteX33" fmla="*/ 5181600 w 5359400"/>
                <a:gd name="connsiteY33" fmla="*/ 1371600 h 5275674"/>
                <a:gd name="connsiteX34" fmla="*/ 5359400 w 5359400"/>
                <a:gd name="connsiteY34" fmla="*/ 1536700 h 5275674"/>
                <a:gd name="connsiteX35" fmla="*/ 4927600 w 5359400"/>
                <a:gd name="connsiteY35" fmla="*/ 2019300 h 5275674"/>
                <a:gd name="connsiteX36" fmla="*/ 4279900 w 5359400"/>
                <a:gd name="connsiteY36" fmla="*/ 4318000 h 5275674"/>
                <a:gd name="connsiteX37" fmla="*/ 3898900 w 5359400"/>
                <a:gd name="connsiteY37" fmla="*/ 4864100 h 5275674"/>
                <a:gd name="connsiteX38" fmla="*/ 3276600 w 5359400"/>
                <a:gd name="connsiteY38" fmla="*/ 5168900 h 5275674"/>
                <a:gd name="connsiteX39" fmla="*/ 2921000 w 5359400"/>
                <a:gd name="connsiteY39" fmla="*/ 5257800 h 5275674"/>
                <a:gd name="connsiteX0" fmla="*/ 2921000 w 5359400"/>
                <a:gd name="connsiteY0" fmla="*/ 5257800 h 5275674"/>
                <a:gd name="connsiteX1" fmla="*/ 2921000 w 5359400"/>
                <a:gd name="connsiteY1" fmla="*/ 5257800 h 5275674"/>
                <a:gd name="connsiteX2" fmla="*/ 2641600 w 5359400"/>
                <a:gd name="connsiteY2" fmla="*/ 5257800 h 5275674"/>
                <a:gd name="connsiteX3" fmla="*/ 2057400 w 5359400"/>
                <a:gd name="connsiteY3" fmla="*/ 5016500 h 5275674"/>
                <a:gd name="connsiteX4" fmla="*/ 1676400 w 5359400"/>
                <a:gd name="connsiteY4" fmla="*/ 4635500 h 5275674"/>
                <a:gd name="connsiteX5" fmla="*/ 1473200 w 5359400"/>
                <a:gd name="connsiteY5" fmla="*/ 4178300 h 5275674"/>
                <a:gd name="connsiteX6" fmla="*/ 1295400 w 5359400"/>
                <a:gd name="connsiteY6" fmla="*/ 3683000 h 5275674"/>
                <a:gd name="connsiteX7" fmla="*/ 165100 w 5359400"/>
                <a:gd name="connsiteY7" fmla="*/ 2082800 h 5275674"/>
                <a:gd name="connsiteX8" fmla="*/ 0 w 5359400"/>
                <a:gd name="connsiteY8" fmla="*/ 1765300 h 5275674"/>
                <a:gd name="connsiteX9" fmla="*/ 165100 w 5359400"/>
                <a:gd name="connsiteY9" fmla="*/ 1587500 h 5275674"/>
                <a:gd name="connsiteX10" fmla="*/ 342900 w 5359400"/>
                <a:gd name="connsiteY10" fmla="*/ 1549400 h 5275674"/>
                <a:gd name="connsiteX11" fmla="*/ 673100 w 5359400"/>
                <a:gd name="connsiteY11" fmla="*/ 1803400 h 5275674"/>
                <a:gd name="connsiteX12" fmla="*/ 1320800 w 5359400"/>
                <a:gd name="connsiteY12" fmla="*/ 2806700 h 5275674"/>
                <a:gd name="connsiteX13" fmla="*/ 1524000 w 5359400"/>
                <a:gd name="connsiteY13" fmla="*/ 2908300 h 5275674"/>
                <a:gd name="connsiteX14" fmla="*/ 1562100 w 5359400"/>
                <a:gd name="connsiteY14" fmla="*/ 2819400 h 5275674"/>
                <a:gd name="connsiteX15" fmla="*/ 596900 w 5359400"/>
                <a:gd name="connsiteY15" fmla="*/ 1016000 h 5275674"/>
                <a:gd name="connsiteX16" fmla="*/ 736600 w 5359400"/>
                <a:gd name="connsiteY16" fmla="*/ 647700 h 5275674"/>
                <a:gd name="connsiteX17" fmla="*/ 1270000 w 5359400"/>
                <a:gd name="connsiteY17" fmla="*/ 800100 h 5275674"/>
                <a:gd name="connsiteX18" fmla="*/ 2006600 w 5359400"/>
                <a:gd name="connsiteY18" fmla="*/ 2273300 h 5275674"/>
                <a:gd name="connsiteX19" fmla="*/ 2171700 w 5359400"/>
                <a:gd name="connsiteY19" fmla="*/ 2349500 h 5275674"/>
                <a:gd name="connsiteX20" fmla="*/ 2235200 w 5359400"/>
                <a:gd name="connsiteY20" fmla="*/ 2133600 h 5275674"/>
                <a:gd name="connsiteX21" fmla="*/ 1549400 w 5359400"/>
                <a:gd name="connsiteY21" fmla="*/ 381000 h 5275674"/>
                <a:gd name="connsiteX22" fmla="*/ 1689100 w 5359400"/>
                <a:gd name="connsiteY22" fmla="*/ 114300 h 5275674"/>
                <a:gd name="connsiteX23" fmla="*/ 2133600 w 5359400"/>
                <a:gd name="connsiteY23" fmla="*/ 177800 h 5275674"/>
                <a:gd name="connsiteX24" fmla="*/ 2819400 w 5359400"/>
                <a:gd name="connsiteY24" fmla="*/ 1905000 h 5275674"/>
                <a:gd name="connsiteX25" fmla="*/ 3073400 w 5359400"/>
                <a:gd name="connsiteY25" fmla="*/ 2108200 h 5275674"/>
                <a:gd name="connsiteX26" fmla="*/ 2870200 w 5359400"/>
                <a:gd name="connsiteY26" fmla="*/ 342900 h 5275674"/>
                <a:gd name="connsiteX27" fmla="*/ 3162300 w 5359400"/>
                <a:gd name="connsiteY27" fmla="*/ 0 h 5275674"/>
                <a:gd name="connsiteX28" fmla="*/ 3556000 w 5359400"/>
                <a:gd name="connsiteY28" fmla="*/ 215900 h 5275674"/>
                <a:gd name="connsiteX29" fmla="*/ 3810000 w 5359400"/>
                <a:gd name="connsiteY29" fmla="*/ 2413000 h 5275674"/>
                <a:gd name="connsiteX30" fmla="*/ 3937000 w 5359400"/>
                <a:gd name="connsiteY30" fmla="*/ 2603500 h 5275674"/>
                <a:gd name="connsiteX31" fmla="*/ 4318000 w 5359400"/>
                <a:gd name="connsiteY31" fmla="*/ 1816100 h 5275674"/>
                <a:gd name="connsiteX32" fmla="*/ 4737100 w 5359400"/>
                <a:gd name="connsiteY32" fmla="*/ 1333500 h 5275674"/>
                <a:gd name="connsiteX33" fmla="*/ 5181600 w 5359400"/>
                <a:gd name="connsiteY33" fmla="*/ 1371600 h 5275674"/>
                <a:gd name="connsiteX34" fmla="*/ 5359400 w 5359400"/>
                <a:gd name="connsiteY34" fmla="*/ 1536700 h 5275674"/>
                <a:gd name="connsiteX35" fmla="*/ 4927600 w 5359400"/>
                <a:gd name="connsiteY35" fmla="*/ 2019300 h 5275674"/>
                <a:gd name="connsiteX36" fmla="*/ 4279900 w 5359400"/>
                <a:gd name="connsiteY36" fmla="*/ 4318000 h 5275674"/>
                <a:gd name="connsiteX37" fmla="*/ 3898900 w 5359400"/>
                <a:gd name="connsiteY37" fmla="*/ 4864100 h 5275674"/>
                <a:gd name="connsiteX38" fmla="*/ 3276600 w 5359400"/>
                <a:gd name="connsiteY38" fmla="*/ 5168900 h 5275674"/>
                <a:gd name="connsiteX39" fmla="*/ 2921000 w 5359400"/>
                <a:gd name="connsiteY39" fmla="*/ 5257800 h 5275674"/>
                <a:gd name="connsiteX0" fmla="*/ 2921000 w 5359400"/>
                <a:gd name="connsiteY0" fmla="*/ 5257800 h 5275674"/>
                <a:gd name="connsiteX1" fmla="*/ 2921000 w 5359400"/>
                <a:gd name="connsiteY1" fmla="*/ 5257800 h 5275674"/>
                <a:gd name="connsiteX2" fmla="*/ 2641600 w 5359400"/>
                <a:gd name="connsiteY2" fmla="*/ 5257800 h 5275674"/>
                <a:gd name="connsiteX3" fmla="*/ 2057400 w 5359400"/>
                <a:gd name="connsiteY3" fmla="*/ 5016500 h 5275674"/>
                <a:gd name="connsiteX4" fmla="*/ 1676400 w 5359400"/>
                <a:gd name="connsiteY4" fmla="*/ 4635500 h 5275674"/>
                <a:gd name="connsiteX5" fmla="*/ 1473200 w 5359400"/>
                <a:gd name="connsiteY5" fmla="*/ 4178300 h 5275674"/>
                <a:gd name="connsiteX6" fmla="*/ 1295400 w 5359400"/>
                <a:gd name="connsiteY6" fmla="*/ 3683000 h 5275674"/>
                <a:gd name="connsiteX7" fmla="*/ 165100 w 5359400"/>
                <a:gd name="connsiteY7" fmla="*/ 2082800 h 5275674"/>
                <a:gd name="connsiteX8" fmla="*/ 0 w 5359400"/>
                <a:gd name="connsiteY8" fmla="*/ 1765300 h 5275674"/>
                <a:gd name="connsiteX9" fmla="*/ 165100 w 5359400"/>
                <a:gd name="connsiteY9" fmla="*/ 1587500 h 5275674"/>
                <a:gd name="connsiteX10" fmla="*/ 342900 w 5359400"/>
                <a:gd name="connsiteY10" fmla="*/ 1549400 h 5275674"/>
                <a:gd name="connsiteX11" fmla="*/ 673100 w 5359400"/>
                <a:gd name="connsiteY11" fmla="*/ 1803400 h 5275674"/>
                <a:gd name="connsiteX12" fmla="*/ 1320800 w 5359400"/>
                <a:gd name="connsiteY12" fmla="*/ 2806700 h 5275674"/>
                <a:gd name="connsiteX13" fmla="*/ 1524000 w 5359400"/>
                <a:gd name="connsiteY13" fmla="*/ 2908300 h 5275674"/>
                <a:gd name="connsiteX14" fmla="*/ 1562100 w 5359400"/>
                <a:gd name="connsiteY14" fmla="*/ 2819400 h 5275674"/>
                <a:gd name="connsiteX15" fmla="*/ 596900 w 5359400"/>
                <a:gd name="connsiteY15" fmla="*/ 1016000 h 5275674"/>
                <a:gd name="connsiteX16" fmla="*/ 736600 w 5359400"/>
                <a:gd name="connsiteY16" fmla="*/ 647700 h 5275674"/>
                <a:gd name="connsiteX17" fmla="*/ 1270000 w 5359400"/>
                <a:gd name="connsiteY17" fmla="*/ 800100 h 5275674"/>
                <a:gd name="connsiteX18" fmla="*/ 2006600 w 5359400"/>
                <a:gd name="connsiteY18" fmla="*/ 2273300 h 5275674"/>
                <a:gd name="connsiteX19" fmla="*/ 2171700 w 5359400"/>
                <a:gd name="connsiteY19" fmla="*/ 2349500 h 5275674"/>
                <a:gd name="connsiteX20" fmla="*/ 2235200 w 5359400"/>
                <a:gd name="connsiteY20" fmla="*/ 2133600 h 5275674"/>
                <a:gd name="connsiteX21" fmla="*/ 1549400 w 5359400"/>
                <a:gd name="connsiteY21" fmla="*/ 381000 h 5275674"/>
                <a:gd name="connsiteX22" fmla="*/ 1689100 w 5359400"/>
                <a:gd name="connsiteY22" fmla="*/ 114300 h 5275674"/>
                <a:gd name="connsiteX23" fmla="*/ 2133600 w 5359400"/>
                <a:gd name="connsiteY23" fmla="*/ 177800 h 5275674"/>
                <a:gd name="connsiteX24" fmla="*/ 2819400 w 5359400"/>
                <a:gd name="connsiteY24" fmla="*/ 1905000 h 5275674"/>
                <a:gd name="connsiteX25" fmla="*/ 3073400 w 5359400"/>
                <a:gd name="connsiteY25" fmla="*/ 2108200 h 5275674"/>
                <a:gd name="connsiteX26" fmla="*/ 2870200 w 5359400"/>
                <a:gd name="connsiteY26" fmla="*/ 342900 h 5275674"/>
                <a:gd name="connsiteX27" fmla="*/ 3162300 w 5359400"/>
                <a:gd name="connsiteY27" fmla="*/ 0 h 5275674"/>
                <a:gd name="connsiteX28" fmla="*/ 3556000 w 5359400"/>
                <a:gd name="connsiteY28" fmla="*/ 215900 h 5275674"/>
                <a:gd name="connsiteX29" fmla="*/ 3810000 w 5359400"/>
                <a:gd name="connsiteY29" fmla="*/ 2413000 h 5275674"/>
                <a:gd name="connsiteX30" fmla="*/ 3937000 w 5359400"/>
                <a:gd name="connsiteY30" fmla="*/ 2603500 h 5275674"/>
                <a:gd name="connsiteX31" fmla="*/ 4318000 w 5359400"/>
                <a:gd name="connsiteY31" fmla="*/ 1816100 h 5275674"/>
                <a:gd name="connsiteX32" fmla="*/ 4737100 w 5359400"/>
                <a:gd name="connsiteY32" fmla="*/ 1333500 h 5275674"/>
                <a:gd name="connsiteX33" fmla="*/ 5181600 w 5359400"/>
                <a:gd name="connsiteY33" fmla="*/ 1371600 h 5275674"/>
                <a:gd name="connsiteX34" fmla="*/ 5359400 w 5359400"/>
                <a:gd name="connsiteY34" fmla="*/ 1536700 h 5275674"/>
                <a:gd name="connsiteX35" fmla="*/ 4927600 w 5359400"/>
                <a:gd name="connsiteY35" fmla="*/ 2019300 h 5275674"/>
                <a:gd name="connsiteX36" fmla="*/ 4279900 w 5359400"/>
                <a:gd name="connsiteY36" fmla="*/ 4318000 h 5275674"/>
                <a:gd name="connsiteX37" fmla="*/ 3898900 w 5359400"/>
                <a:gd name="connsiteY37" fmla="*/ 4864100 h 5275674"/>
                <a:gd name="connsiteX38" fmla="*/ 3276600 w 5359400"/>
                <a:gd name="connsiteY38" fmla="*/ 5168900 h 5275674"/>
                <a:gd name="connsiteX39" fmla="*/ 2921000 w 5359400"/>
                <a:gd name="connsiteY39" fmla="*/ 5257800 h 5275674"/>
                <a:gd name="connsiteX0" fmla="*/ 2921000 w 5359400"/>
                <a:gd name="connsiteY0" fmla="*/ 5257800 h 5275674"/>
                <a:gd name="connsiteX1" fmla="*/ 2921000 w 5359400"/>
                <a:gd name="connsiteY1" fmla="*/ 5257800 h 5275674"/>
                <a:gd name="connsiteX2" fmla="*/ 2641600 w 5359400"/>
                <a:gd name="connsiteY2" fmla="*/ 5257800 h 5275674"/>
                <a:gd name="connsiteX3" fmla="*/ 2057400 w 5359400"/>
                <a:gd name="connsiteY3" fmla="*/ 5016500 h 5275674"/>
                <a:gd name="connsiteX4" fmla="*/ 1676400 w 5359400"/>
                <a:gd name="connsiteY4" fmla="*/ 4635500 h 5275674"/>
                <a:gd name="connsiteX5" fmla="*/ 1473200 w 5359400"/>
                <a:gd name="connsiteY5" fmla="*/ 4178300 h 5275674"/>
                <a:gd name="connsiteX6" fmla="*/ 1295400 w 5359400"/>
                <a:gd name="connsiteY6" fmla="*/ 3683000 h 5275674"/>
                <a:gd name="connsiteX7" fmla="*/ 165100 w 5359400"/>
                <a:gd name="connsiteY7" fmla="*/ 2082800 h 5275674"/>
                <a:gd name="connsiteX8" fmla="*/ 0 w 5359400"/>
                <a:gd name="connsiteY8" fmla="*/ 1765300 h 5275674"/>
                <a:gd name="connsiteX9" fmla="*/ 165100 w 5359400"/>
                <a:gd name="connsiteY9" fmla="*/ 1587500 h 5275674"/>
                <a:gd name="connsiteX10" fmla="*/ 342900 w 5359400"/>
                <a:gd name="connsiteY10" fmla="*/ 1549400 h 5275674"/>
                <a:gd name="connsiteX11" fmla="*/ 673100 w 5359400"/>
                <a:gd name="connsiteY11" fmla="*/ 1803400 h 5275674"/>
                <a:gd name="connsiteX12" fmla="*/ 1320800 w 5359400"/>
                <a:gd name="connsiteY12" fmla="*/ 2806700 h 5275674"/>
                <a:gd name="connsiteX13" fmla="*/ 1524000 w 5359400"/>
                <a:gd name="connsiteY13" fmla="*/ 2908300 h 5275674"/>
                <a:gd name="connsiteX14" fmla="*/ 1562100 w 5359400"/>
                <a:gd name="connsiteY14" fmla="*/ 2819400 h 5275674"/>
                <a:gd name="connsiteX15" fmla="*/ 596900 w 5359400"/>
                <a:gd name="connsiteY15" fmla="*/ 1016000 h 5275674"/>
                <a:gd name="connsiteX16" fmla="*/ 736600 w 5359400"/>
                <a:gd name="connsiteY16" fmla="*/ 647700 h 5275674"/>
                <a:gd name="connsiteX17" fmla="*/ 1270000 w 5359400"/>
                <a:gd name="connsiteY17" fmla="*/ 800100 h 5275674"/>
                <a:gd name="connsiteX18" fmla="*/ 2006600 w 5359400"/>
                <a:gd name="connsiteY18" fmla="*/ 2273300 h 5275674"/>
                <a:gd name="connsiteX19" fmla="*/ 2171700 w 5359400"/>
                <a:gd name="connsiteY19" fmla="*/ 2349500 h 5275674"/>
                <a:gd name="connsiteX20" fmla="*/ 2235200 w 5359400"/>
                <a:gd name="connsiteY20" fmla="*/ 2133600 h 5275674"/>
                <a:gd name="connsiteX21" fmla="*/ 1549400 w 5359400"/>
                <a:gd name="connsiteY21" fmla="*/ 381000 h 5275674"/>
                <a:gd name="connsiteX22" fmla="*/ 1689100 w 5359400"/>
                <a:gd name="connsiteY22" fmla="*/ 114300 h 5275674"/>
                <a:gd name="connsiteX23" fmla="*/ 2133600 w 5359400"/>
                <a:gd name="connsiteY23" fmla="*/ 177800 h 5275674"/>
                <a:gd name="connsiteX24" fmla="*/ 2819400 w 5359400"/>
                <a:gd name="connsiteY24" fmla="*/ 1905000 h 5275674"/>
                <a:gd name="connsiteX25" fmla="*/ 3073400 w 5359400"/>
                <a:gd name="connsiteY25" fmla="*/ 2108200 h 5275674"/>
                <a:gd name="connsiteX26" fmla="*/ 2870200 w 5359400"/>
                <a:gd name="connsiteY26" fmla="*/ 342900 h 5275674"/>
                <a:gd name="connsiteX27" fmla="*/ 3162300 w 5359400"/>
                <a:gd name="connsiteY27" fmla="*/ 0 h 5275674"/>
                <a:gd name="connsiteX28" fmla="*/ 3556000 w 5359400"/>
                <a:gd name="connsiteY28" fmla="*/ 215900 h 5275674"/>
                <a:gd name="connsiteX29" fmla="*/ 3810000 w 5359400"/>
                <a:gd name="connsiteY29" fmla="*/ 2413000 h 5275674"/>
                <a:gd name="connsiteX30" fmla="*/ 3937000 w 5359400"/>
                <a:gd name="connsiteY30" fmla="*/ 2603500 h 5275674"/>
                <a:gd name="connsiteX31" fmla="*/ 4318000 w 5359400"/>
                <a:gd name="connsiteY31" fmla="*/ 1816100 h 5275674"/>
                <a:gd name="connsiteX32" fmla="*/ 4737100 w 5359400"/>
                <a:gd name="connsiteY32" fmla="*/ 1333500 h 5275674"/>
                <a:gd name="connsiteX33" fmla="*/ 5181600 w 5359400"/>
                <a:gd name="connsiteY33" fmla="*/ 1371600 h 5275674"/>
                <a:gd name="connsiteX34" fmla="*/ 5359400 w 5359400"/>
                <a:gd name="connsiteY34" fmla="*/ 1536700 h 5275674"/>
                <a:gd name="connsiteX35" fmla="*/ 4927600 w 5359400"/>
                <a:gd name="connsiteY35" fmla="*/ 2019300 h 5275674"/>
                <a:gd name="connsiteX36" fmla="*/ 4279900 w 5359400"/>
                <a:gd name="connsiteY36" fmla="*/ 4318000 h 5275674"/>
                <a:gd name="connsiteX37" fmla="*/ 3898900 w 5359400"/>
                <a:gd name="connsiteY37" fmla="*/ 4864100 h 5275674"/>
                <a:gd name="connsiteX38" fmla="*/ 3276600 w 5359400"/>
                <a:gd name="connsiteY38" fmla="*/ 5168900 h 5275674"/>
                <a:gd name="connsiteX39" fmla="*/ 2921000 w 5359400"/>
                <a:gd name="connsiteY39" fmla="*/ 5257800 h 5275674"/>
                <a:gd name="connsiteX0" fmla="*/ 2921000 w 5359400"/>
                <a:gd name="connsiteY0" fmla="*/ 5257800 h 5275674"/>
                <a:gd name="connsiteX1" fmla="*/ 2921000 w 5359400"/>
                <a:gd name="connsiteY1" fmla="*/ 5257800 h 5275674"/>
                <a:gd name="connsiteX2" fmla="*/ 2641600 w 5359400"/>
                <a:gd name="connsiteY2" fmla="*/ 5257800 h 5275674"/>
                <a:gd name="connsiteX3" fmla="*/ 2057400 w 5359400"/>
                <a:gd name="connsiteY3" fmla="*/ 5016500 h 5275674"/>
                <a:gd name="connsiteX4" fmla="*/ 1676400 w 5359400"/>
                <a:gd name="connsiteY4" fmla="*/ 4635500 h 5275674"/>
                <a:gd name="connsiteX5" fmla="*/ 1473200 w 5359400"/>
                <a:gd name="connsiteY5" fmla="*/ 4178300 h 5275674"/>
                <a:gd name="connsiteX6" fmla="*/ 1295400 w 5359400"/>
                <a:gd name="connsiteY6" fmla="*/ 3683000 h 5275674"/>
                <a:gd name="connsiteX7" fmla="*/ 165100 w 5359400"/>
                <a:gd name="connsiteY7" fmla="*/ 2082800 h 5275674"/>
                <a:gd name="connsiteX8" fmla="*/ 0 w 5359400"/>
                <a:gd name="connsiteY8" fmla="*/ 1765300 h 5275674"/>
                <a:gd name="connsiteX9" fmla="*/ 165100 w 5359400"/>
                <a:gd name="connsiteY9" fmla="*/ 1587500 h 5275674"/>
                <a:gd name="connsiteX10" fmla="*/ 342900 w 5359400"/>
                <a:gd name="connsiteY10" fmla="*/ 1549400 h 5275674"/>
                <a:gd name="connsiteX11" fmla="*/ 673100 w 5359400"/>
                <a:gd name="connsiteY11" fmla="*/ 1803400 h 5275674"/>
                <a:gd name="connsiteX12" fmla="*/ 1320800 w 5359400"/>
                <a:gd name="connsiteY12" fmla="*/ 2806700 h 5275674"/>
                <a:gd name="connsiteX13" fmla="*/ 1524000 w 5359400"/>
                <a:gd name="connsiteY13" fmla="*/ 2908300 h 5275674"/>
                <a:gd name="connsiteX14" fmla="*/ 1562100 w 5359400"/>
                <a:gd name="connsiteY14" fmla="*/ 2819400 h 5275674"/>
                <a:gd name="connsiteX15" fmla="*/ 596900 w 5359400"/>
                <a:gd name="connsiteY15" fmla="*/ 1016000 h 5275674"/>
                <a:gd name="connsiteX16" fmla="*/ 736600 w 5359400"/>
                <a:gd name="connsiteY16" fmla="*/ 647700 h 5275674"/>
                <a:gd name="connsiteX17" fmla="*/ 1270000 w 5359400"/>
                <a:gd name="connsiteY17" fmla="*/ 800100 h 5275674"/>
                <a:gd name="connsiteX18" fmla="*/ 2006600 w 5359400"/>
                <a:gd name="connsiteY18" fmla="*/ 2273300 h 5275674"/>
                <a:gd name="connsiteX19" fmla="*/ 2171700 w 5359400"/>
                <a:gd name="connsiteY19" fmla="*/ 2349500 h 5275674"/>
                <a:gd name="connsiteX20" fmla="*/ 2235200 w 5359400"/>
                <a:gd name="connsiteY20" fmla="*/ 2133600 h 5275674"/>
                <a:gd name="connsiteX21" fmla="*/ 1549400 w 5359400"/>
                <a:gd name="connsiteY21" fmla="*/ 381000 h 5275674"/>
                <a:gd name="connsiteX22" fmla="*/ 1689100 w 5359400"/>
                <a:gd name="connsiteY22" fmla="*/ 114300 h 5275674"/>
                <a:gd name="connsiteX23" fmla="*/ 2133600 w 5359400"/>
                <a:gd name="connsiteY23" fmla="*/ 177800 h 5275674"/>
                <a:gd name="connsiteX24" fmla="*/ 2819400 w 5359400"/>
                <a:gd name="connsiteY24" fmla="*/ 1905000 h 5275674"/>
                <a:gd name="connsiteX25" fmla="*/ 3073400 w 5359400"/>
                <a:gd name="connsiteY25" fmla="*/ 2108200 h 5275674"/>
                <a:gd name="connsiteX26" fmla="*/ 2870200 w 5359400"/>
                <a:gd name="connsiteY26" fmla="*/ 342900 h 5275674"/>
                <a:gd name="connsiteX27" fmla="*/ 3162300 w 5359400"/>
                <a:gd name="connsiteY27" fmla="*/ 0 h 5275674"/>
                <a:gd name="connsiteX28" fmla="*/ 3556000 w 5359400"/>
                <a:gd name="connsiteY28" fmla="*/ 215900 h 5275674"/>
                <a:gd name="connsiteX29" fmla="*/ 3810000 w 5359400"/>
                <a:gd name="connsiteY29" fmla="*/ 2413000 h 5275674"/>
                <a:gd name="connsiteX30" fmla="*/ 3937000 w 5359400"/>
                <a:gd name="connsiteY30" fmla="*/ 2603500 h 5275674"/>
                <a:gd name="connsiteX31" fmla="*/ 4318000 w 5359400"/>
                <a:gd name="connsiteY31" fmla="*/ 1816100 h 5275674"/>
                <a:gd name="connsiteX32" fmla="*/ 4737100 w 5359400"/>
                <a:gd name="connsiteY32" fmla="*/ 1333500 h 5275674"/>
                <a:gd name="connsiteX33" fmla="*/ 5181600 w 5359400"/>
                <a:gd name="connsiteY33" fmla="*/ 1371600 h 5275674"/>
                <a:gd name="connsiteX34" fmla="*/ 5359400 w 5359400"/>
                <a:gd name="connsiteY34" fmla="*/ 1536700 h 5275674"/>
                <a:gd name="connsiteX35" fmla="*/ 4927600 w 5359400"/>
                <a:gd name="connsiteY35" fmla="*/ 2019300 h 5275674"/>
                <a:gd name="connsiteX36" fmla="*/ 4279900 w 5359400"/>
                <a:gd name="connsiteY36" fmla="*/ 4318000 h 5275674"/>
                <a:gd name="connsiteX37" fmla="*/ 3898900 w 5359400"/>
                <a:gd name="connsiteY37" fmla="*/ 4864100 h 5275674"/>
                <a:gd name="connsiteX38" fmla="*/ 3276600 w 5359400"/>
                <a:gd name="connsiteY38" fmla="*/ 5168900 h 5275674"/>
                <a:gd name="connsiteX39" fmla="*/ 2921000 w 5359400"/>
                <a:gd name="connsiteY39" fmla="*/ 5257800 h 5275674"/>
                <a:gd name="connsiteX0" fmla="*/ 2921000 w 5359400"/>
                <a:gd name="connsiteY0" fmla="*/ 5257800 h 5275674"/>
                <a:gd name="connsiteX1" fmla="*/ 2921000 w 5359400"/>
                <a:gd name="connsiteY1" fmla="*/ 5257800 h 5275674"/>
                <a:gd name="connsiteX2" fmla="*/ 2641600 w 5359400"/>
                <a:gd name="connsiteY2" fmla="*/ 5257800 h 5275674"/>
                <a:gd name="connsiteX3" fmla="*/ 2057400 w 5359400"/>
                <a:gd name="connsiteY3" fmla="*/ 5016500 h 5275674"/>
                <a:gd name="connsiteX4" fmla="*/ 1676400 w 5359400"/>
                <a:gd name="connsiteY4" fmla="*/ 4635500 h 5275674"/>
                <a:gd name="connsiteX5" fmla="*/ 1473200 w 5359400"/>
                <a:gd name="connsiteY5" fmla="*/ 4178300 h 5275674"/>
                <a:gd name="connsiteX6" fmla="*/ 1242060 w 5359400"/>
                <a:gd name="connsiteY6" fmla="*/ 3690620 h 5275674"/>
                <a:gd name="connsiteX7" fmla="*/ 165100 w 5359400"/>
                <a:gd name="connsiteY7" fmla="*/ 2082800 h 5275674"/>
                <a:gd name="connsiteX8" fmla="*/ 0 w 5359400"/>
                <a:gd name="connsiteY8" fmla="*/ 1765300 h 5275674"/>
                <a:gd name="connsiteX9" fmla="*/ 165100 w 5359400"/>
                <a:gd name="connsiteY9" fmla="*/ 1587500 h 5275674"/>
                <a:gd name="connsiteX10" fmla="*/ 342900 w 5359400"/>
                <a:gd name="connsiteY10" fmla="*/ 1549400 h 5275674"/>
                <a:gd name="connsiteX11" fmla="*/ 673100 w 5359400"/>
                <a:gd name="connsiteY11" fmla="*/ 1803400 h 5275674"/>
                <a:gd name="connsiteX12" fmla="*/ 1320800 w 5359400"/>
                <a:gd name="connsiteY12" fmla="*/ 2806700 h 5275674"/>
                <a:gd name="connsiteX13" fmla="*/ 1524000 w 5359400"/>
                <a:gd name="connsiteY13" fmla="*/ 2908300 h 5275674"/>
                <a:gd name="connsiteX14" fmla="*/ 1562100 w 5359400"/>
                <a:gd name="connsiteY14" fmla="*/ 2819400 h 5275674"/>
                <a:gd name="connsiteX15" fmla="*/ 596900 w 5359400"/>
                <a:gd name="connsiteY15" fmla="*/ 1016000 h 5275674"/>
                <a:gd name="connsiteX16" fmla="*/ 736600 w 5359400"/>
                <a:gd name="connsiteY16" fmla="*/ 647700 h 5275674"/>
                <a:gd name="connsiteX17" fmla="*/ 1270000 w 5359400"/>
                <a:gd name="connsiteY17" fmla="*/ 800100 h 5275674"/>
                <a:gd name="connsiteX18" fmla="*/ 2006600 w 5359400"/>
                <a:gd name="connsiteY18" fmla="*/ 2273300 h 5275674"/>
                <a:gd name="connsiteX19" fmla="*/ 2171700 w 5359400"/>
                <a:gd name="connsiteY19" fmla="*/ 2349500 h 5275674"/>
                <a:gd name="connsiteX20" fmla="*/ 2235200 w 5359400"/>
                <a:gd name="connsiteY20" fmla="*/ 2133600 h 5275674"/>
                <a:gd name="connsiteX21" fmla="*/ 1549400 w 5359400"/>
                <a:gd name="connsiteY21" fmla="*/ 381000 h 5275674"/>
                <a:gd name="connsiteX22" fmla="*/ 1689100 w 5359400"/>
                <a:gd name="connsiteY22" fmla="*/ 114300 h 5275674"/>
                <a:gd name="connsiteX23" fmla="*/ 2133600 w 5359400"/>
                <a:gd name="connsiteY23" fmla="*/ 177800 h 5275674"/>
                <a:gd name="connsiteX24" fmla="*/ 2819400 w 5359400"/>
                <a:gd name="connsiteY24" fmla="*/ 1905000 h 5275674"/>
                <a:gd name="connsiteX25" fmla="*/ 3073400 w 5359400"/>
                <a:gd name="connsiteY25" fmla="*/ 2108200 h 5275674"/>
                <a:gd name="connsiteX26" fmla="*/ 2870200 w 5359400"/>
                <a:gd name="connsiteY26" fmla="*/ 342900 h 5275674"/>
                <a:gd name="connsiteX27" fmla="*/ 3162300 w 5359400"/>
                <a:gd name="connsiteY27" fmla="*/ 0 h 5275674"/>
                <a:gd name="connsiteX28" fmla="*/ 3556000 w 5359400"/>
                <a:gd name="connsiteY28" fmla="*/ 215900 h 5275674"/>
                <a:gd name="connsiteX29" fmla="*/ 3810000 w 5359400"/>
                <a:gd name="connsiteY29" fmla="*/ 2413000 h 5275674"/>
                <a:gd name="connsiteX30" fmla="*/ 3937000 w 5359400"/>
                <a:gd name="connsiteY30" fmla="*/ 2603500 h 5275674"/>
                <a:gd name="connsiteX31" fmla="*/ 4318000 w 5359400"/>
                <a:gd name="connsiteY31" fmla="*/ 1816100 h 5275674"/>
                <a:gd name="connsiteX32" fmla="*/ 4737100 w 5359400"/>
                <a:gd name="connsiteY32" fmla="*/ 1333500 h 5275674"/>
                <a:gd name="connsiteX33" fmla="*/ 5181600 w 5359400"/>
                <a:gd name="connsiteY33" fmla="*/ 1371600 h 5275674"/>
                <a:gd name="connsiteX34" fmla="*/ 5359400 w 5359400"/>
                <a:gd name="connsiteY34" fmla="*/ 1536700 h 5275674"/>
                <a:gd name="connsiteX35" fmla="*/ 4927600 w 5359400"/>
                <a:gd name="connsiteY35" fmla="*/ 2019300 h 5275674"/>
                <a:gd name="connsiteX36" fmla="*/ 4279900 w 5359400"/>
                <a:gd name="connsiteY36" fmla="*/ 4318000 h 5275674"/>
                <a:gd name="connsiteX37" fmla="*/ 3898900 w 5359400"/>
                <a:gd name="connsiteY37" fmla="*/ 4864100 h 5275674"/>
                <a:gd name="connsiteX38" fmla="*/ 3276600 w 5359400"/>
                <a:gd name="connsiteY38" fmla="*/ 5168900 h 5275674"/>
                <a:gd name="connsiteX39" fmla="*/ 2921000 w 5359400"/>
                <a:gd name="connsiteY39" fmla="*/ 5257800 h 5275674"/>
                <a:gd name="connsiteX0" fmla="*/ 2921000 w 5359400"/>
                <a:gd name="connsiteY0" fmla="*/ 5257800 h 5275674"/>
                <a:gd name="connsiteX1" fmla="*/ 2921000 w 5359400"/>
                <a:gd name="connsiteY1" fmla="*/ 5257800 h 5275674"/>
                <a:gd name="connsiteX2" fmla="*/ 2641600 w 5359400"/>
                <a:gd name="connsiteY2" fmla="*/ 5257800 h 5275674"/>
                <a:gd name="connsiteX3" fmla="*/ 2057400 w 5359400"/>
                <a:gd name="connsiteY3" fmla="*/ 5016500 h 5275674"/>
                <a:gd name="connsiteX4" fmla="*/ 1676400 w 5359400"/>
                <a:gd name="connsiteY4" fmla="*/ 4635500 h 5275674"/>
                <a:gd name="connsiteX5" fmla="*/ 1473200 w 5359400"/>
                <a:gd name="connsiteY5" fmla="*/ 4178300 h 5275674"/>
                <a:gd name="connsiteX6" fmla="*/ 1242060 w 5359400"/>
                <a:gd name="connsiteY6" fmla="*/ 3690620 h 5275674"/>
                <a:gd name="connsiteX7" fmla="*/ 165100 w 5359400"/>
                <a:gd name="connsiteY7" fmla="*/ 2082800 h 5275674"/>
                <a:gd name="connsiteX8" fmla="*/ 0 w 5359400"/>
                <a:gd name="connsiteY8" fmla="*/ 1765300 h 5275674"/>
                <a:gd name="connsiteX9" fmla="*/ 165100 w 5359400"/>
                <a:gd name="connsiteY9" fmla="*/ 1587500 h 5275674"/>
                <a:gd name="connsiteX10" fmla="*/ 342900 w 5359400"/>
                <a:gd name="connsiteY10" fmla="*/ 1549400 h 5275674"/>
                <a:gd name="connsiteX11" fmla="*/ 673100 w 5359400"/>
                <a:gd name="connsiteY11" fmla="*/ 1803400 h 5275674"/>
                <a:gd name="connsiteX12" fmla="*/ 1320800 w 5359400"/>
                <a:gd name="connsiteY12" fmla="*/ 2806700 h 5275674"/>
                <a:gd name="connsiteX13" fmla="*/ 1524000 w 5359400"/>
                <a:gd name="connsiteY13" fmla="*/ 2908300 h 5275674"/>
                <a:gd name="connsiteX14" fmla="*/ 1562100 w 5359400"/>
                <a:gd name="connsiteY14" fmla="*/ 2819400 h 5275674"/>
                <a:gd name="connsiteX15" fmla="*/ 596900 w 5359400"/>
                <a:gd name="connsiteY15" fmla="*/ 1016000 h 5275674"/>
                <a:gd name="connsiteX16" fmla="*/ 736600 w 5359400"/>
                <a:gd name="connsiteY16" fmla="*/ 647700 h 5275674"/>
                <a:gd name="connsiteX17" fmla="*/ 1270000 w 5359400"/>
                <a:gd name="connsiteY17" fmla="*/ 800100 h 5275674"/>
                <a:gd name="connsiteX18" fmla="*/ 2006600 w 5359400"/>
                <a:gd name="connsiteY18" fmla="*/ 2273300 h 5275674"/>
                <a:gd name="connsiteX19" fmla="*/ 2171700 w 5359400"/>
                <a:gd name="connsiteY19" fmla="*/ 2349500 h 5275674"/>
                <a:gd name="connsiteX20" fmla="*/ 2235200 w 5359400"/>
                <a:gd name="connsiteY20" fmla="*/ 2133600 h 5275674"/>
                <a:gd name="connsiteX21" fmla="*/ 1549400 w 5359400"/>
                <a:gd name="connsiteY21" fmla="*/ 381000 h 5275674"/>
                <a:gd name="connsiteX22" fmla="*/ 1689100 w 5359400"/>
                <a:gd name="connsiteY22" fmla="*/ 114300 h 5275674"/>
                <a:gd name="connsiteX23" fmla="*/ 2133600 w 5359400"/>
                <a:gd name="connsiteY23" fmla="*/ 177800 h 5275674"/>
                <a:gd name="connsiteX24" fmla="*/ 2819400 w 5359400"/>
                <a:gd name="connsiteY24" fmla="*/ 1905000 h 5275674"/>
                <a:gd name="connsiteX25" fmla="*/ 3073400 w 5359400"/>
                <a:gd name="connsiteY25" fmla="*/ 2108200 h 5275674"/>
                <a:gd name="connsiteX26" fmla="*/ 2870200 w 5359400"/>
                <a:gd name="connsiteY26" fmla="*/ 342900 h 5275674"/>
                <a:gd name="connsiteX27" fmla="*/ 3162300 w 5359400"/>
                <a:gd name="connsiteY27" fmla="*/ 0 h 5275674"/>
                <a:gd name="connsiteX28" fmla="*/ 3556000 w 5359400"/>
                <a:gd name="connsiteY28" fmla="*/ 215900 h 5275674"/>
                <a:gd name="connsiteX29" fmla="*/ 3810000 w 5359400"/>
                <a:gd name="connsiteY29" fmla="*/ 2413000 h 5275674"/>
                <a:gd name="connsiteX30" fmla="*/ 3937000 w 5359400"/>
                <a:gd name="connsiteY30" fmla="*/ 2603500 h 5275674"/>
                <a:gd name="connsiteX31" fmla="*/ 4318000 w 5359400"/>
                <a:gd name="connsiteY31" fmla="*/ 1816100 h 5275674"/>
                <a:gd name="connsiteX32" fmla="*/ 4737100 w 5359400"/>
                <a:gd name="connsiteY32" fmla="*/ 1333500 h 5275674"/>
                <a:gd name="connsiteX33" fmla="*/ 5181600 w 5359400"/>
                <a:gd name="connsiteY33" fmla="*/ 1371600 h 5275674"/>
                <a:gd name="connsiteX34" fmla="*/ 5359400 w 5359400"/>
                <a:gd name="connsiteY34" fmla="*/ 1536700 h 5275674"/>
                <a:gd name="connsiteX35" fmla="*/ 4927600 w 5359400"/>
                <a:gd name="connsiteY35" fmla="*/ 2019300 h 5275674"/>
                <a:gd name="connsiteX36" fmla="*/ 4279900 w 5359400"/>
                <a:gd name="connsiteY36" fmla="*/ 4318000 h 5275674"/>
                <a:gd name="connsiteX37" fmla="*/ 3898900 w 5359400"/>
                <a:gd name="connsiteY37" fmla="*/ 4864100 h 5275674"/>
                <a:gd name="connsiteX38" fmla="*/ 3276600 w 5359400"/>
                <a:gd name="connsiteY38" fmla="*/ 5168900 h 5275674"/>
                <a:gd name="connsiteX39" fmla="*/ 2921000 w 5359400"/>
                <a:gd name="connsiteY39" fmla="*/ 5257800 h 5275674"/>
                <a:gd name="connsiteX0" fmla="*/ 2921000 w 5359400"/>
                <a:gd name="connsiteY0" fmla="*/ 5257800 h 5303896"/>
                <a:gd name="connsiteX1" fmla="*/ 2921000 w 5359400"/>
                <a:gd name="connsiteY1" fmla="*/ 5257800 h 5303896"/>
                <a:gd name="connsiteX2" fmla="*/ 2641600 w 5359400"/>
                <a:gd name="connsiteY2" fmla="*/ 5257800 h 5303896"/>
                <a:gd name="connsiteX3" fmla="*/ 1676400 w 5359400"/>
                <a:gd name="connsiteY3" fmla="*/ 4635500 h 5303896"/>
                <a:gd name="connsiteX4" fmla="*/ 1473200 w 5359400"/>
                <a:gd name="connsiteY4" fmla="*/ 4178300 h 5303896"/>
                <a:gd name="connsiteX5" fmla="*/ 1242060 w 5359400"/>
                <a:gd name="connsiteY5" fmla="*/ 3690620 h 5303896"/>
                <a:gd name="connsiteX6" fmla="*/ 165100 w 5359400"/>
                <a:gd name="connsiteY6" fmla="*/ 2082800 h 5303896"/>
                <a:gd name="connsiteX7" fmla="*/ 0 w 5359400"/>
                <a:gd name="connsiteY7" fmla="*/ 1765300 h 5303896"/>
                <a:gd name="connsiteX8" fmla="*/ 165100 w 5359400"/>
                <a:gd name="connsiteY8" fmla="*/ 1587500 h 5303896"/>
                <a:gd name="connsiteX9" fmla="*/ 342900 w 5359400"/>
                <a:gd name="connsiteY9" fmla="*/ 1549400 h 5303896"/>
                <a:gd name="connsiteX10" fmla="*/ 673100 w 5359400"/>
                <a:gd name="connsiteY10" fmla="*/ 1803400 h 5303896"/>
                <a:gd name="connsiteX11" fmla="*/ 1320800 w 5359400"/>
                <a:gd name="connsiteY11" fmla="*/ 2806700 h 5303896"/>
                <a:gd name="connsiteX12" fmla="*/ 1524000 w 5359400"/>
                <a:gd name="connsiteY12" fmla="*/ 2908300 h 5303896"/>
                <a:gd name="connsiteX13" fmla="*/ 1562100 w 5359400"/>
                <a:gd name="connsiteY13" fmla="*/ 2819400 h 5303896"/>
                <a:gd name="connsiteX14" fmla="*/ 596900 w 5359400"/>
                <a:gd name="connsiteY14" fmla="*/ 1016000 h 5303896"/>
                <a:gd name="connsiteX15" fmla="*/ 736600 w 5359400"/>
                <a:gd name="connsiteY15" fmla="*/ 647700 h 5303896"/>
                <a:gd name="connsiteX16" fmla="*/ 1270000 w 5359400"/>
                <a:gd name="connsiteY16" fmla="*/ 800100 h 5303896"/>
                <a:gd name="connsiteX17" fmla="*/ 2006600 w 5359400"/>
                <a:gd name="connsiteY17" fmla="*/ 2273300 h 5303896"/>
                <a:gd name="connsiteX18" fmla="*/ 2171700 w 5359400"/>
                <a:gd name="connsiteY18" fmla="*/ 2349500 h 5303896"/>
                <a:gd name="connsiteX19" fmla="*/ 2235200 w 5359400"/>
                <a:gd name="connsiteY19" fmla="*/ 2133600 h 5303896"/>
                <a:gd name="connsiteX20" fmla="*/ 1549400 w 5359400"/>
                <a:gd name="connsiteY20" fmla="*/ 381000 h 5303896"/>
                <a:gd name="connsiteX21" fmla="*/ 1689100 w 5359400"/>
                <a:gd name="connsiteY21" fmla="*/ 114300 h 5303896"/>
                <a:gd name="connsiteX22" fmla="*/ 2133600 w 5359400"/>
                <a:gd name="connsiteY22" fmla="*/ 177800 h 5303896"/>
                <a:gd name="connsiteX23" fmla="*/ 2819400 w 5359400"/>
                <a:gd name="connsiteY23" fmla="*/ 1905000 h 5303896"/>
                <a:gd name="connsiteX24" fmla="*/ 3073400 w 5359400"/>
                <a:gd name="connsiteY24" fmla="*/ 2108200 h 5303896"/>
                <a:gd name="connsiteX25" fmla="*/ 2870200 w 5359400"/>
                <a:gd name="connsiteY25" fmla="*/ 342900 h 5303896"/>
                <a:gd name="connsiteX26" fmla="*/ 3162300 w 5359400"/>
                <a:gd name="connsiteY26" fmla="*/ 0 h 5303896"/>
                <a:gd name="connsiteX27" fmla="*/ 3556000 w 5359400"/>
                <a:gd name="connsiteY27" fmla="*/ 215900 h 5303896"/>
                <a:gd name="connsiteX28" fmla="*/ 3810000 w 5359400"/>
                <a:gd name="connsiteY28" fmla="*/ 2413000 h 5303896"/>
                <a:gd name="connsiteX29" fmla="*/ 3937000 w 5359400"/>
                <a:gd name="connsiteY29" fmla="*/ 2603500 h 5303896"/>
                <a:gd name="connsiteX30" fmla="*/ 4318000 w 5359400"/>
                <a:gd name="connsiteY30" fmla="*/ 1816100 h 5303896"/>
                <a:gd name="connsiteX31" fmla="*/ 4737100 w 5359400"/>
                <a:gd name="connsiteY31" fmla="*/ 1333500 h 5303896"/>
                <a:gd name="connsiteX32" fmla="*/ 5181600 w 5359400"/>
                <a:gd name="connsiteY32" fmla="*/ 1371600 h 5303896"/>
                <a:gd name="connsiteX33" fmla="*/ 5359400 w 5359400"/>
                <a:gd name="connsiteY33" fmla="*/ 1536700 h 5303896"/>
                <a:gd name="connsiteX34" fmla="*/ 4927600 w 5359400"/>
                <a:gd name="connsiteY34" fmla="*/ 2019300 h 5303896"/>
                <a:gd name="connsiteX35" fmla="*/ 4279900 w 5359400"/>
                <a:gd name="connsiteY35" fmla="*/ 4318000 h 5303896"/>
                <a:gd name="connsiteX36" fmla="*/ 3898900 w 5359400"/>
                <a:gd name="connsiteY36" fmla="*/ 4864100 h 5303896"/>
                <a:gd name="connsiteX37" fmla="*/ 3276600 w 5359400"/>
                <a:gd name="connsiteY37" fmla="*/ 5168900 h 5303896"/>
                <a:gd name="connsiteX38" fmla="*/ 2921000 w 5359400"/>
                <a:gd name="connsiteY38" fmla="*/ 5257800 h 5303896"/>
                <a:gd name="connsiteX0" fmla="*/ 2921000 w 5359400"/>
                <a:gd name="connsiteY0" fmla="*/ 5257800 h 5257800"/>
                <a:gd name="connsiteX1" fmla="*/ 2921000 w 5359400"/>
                <a:gd name="connsiteY1" fmla="*/ 5257800 h 5257800"/>
                <a:gd name="connsiteX2" fmla="*/ 2268220 w 5359400"/>
                <a:gd name="connsiteY2" fmla="*/ 5143500 h 5257800"/>
                <a:gd name="connsiteX3" fmla="*/ 1676400 w 5359400"/>
                <a:gd name="connsiteY3" fmla="*/ 4635500 h 5257800"/>
                <a:gd name="connsiteX4" fmla="*/ 1473200 w 5359400"/>
                <a:gd name="connsiteY4" fmla="*/ 4178300 h 5257800"/>
                <a:gd name="connsiteX5" fmla="*/ 1242060 w 5359400"/>
                <a:gd name="connsiteY5" fmla="*/ 3690620 h 5257800"/>
                <a:gd name="connsiteX6" fmla="*/ 165100 w 5359400"/>
                <a:gd name="connsiteY6" fmla="*/ 2082800 h 5257800"/>
                <a:gd name="connsiteX7" fmla="*/ 0 w 5359400"/>
                <a:gd name="connsiteY7" fmla="*/ 1765300 h 5257800"/>
                <a:gd name="connsiteX8" fmla="*/ 165100 w 5359400"/>
                <a:gd name="connsiteY8" fmla="*/ 1587500 h 5257800"/>
                <a:gd name="connsiteX9" fmla="*/ 342900 w 5359400"/>
                <a:gd name="connsiteY9" fmla="*/ 1549400 h 5257800"/>
                <a:gd name="connsiteX10" fmla="*/ 673100 w 5359400"/>
                <a:gd name="connsiteY10" fmla="*/ 1803400 h 5257800"/>
                <a:gd name="connsiteX11" fmla="*/ 1320800 w 5359400"/>
                <a:gd name="connsiteY11" fmla="*/ 2806700 h 5257800"/>
                <a:gd name="connsiteX12" fmla="*/ 1524000 w 5359400"/>
                <a:gd name="connsiteY12" fmla="*/ 2908300 h 5257800"/>
                <a:gd name="connsiteX13" fmla="*/ 1562100 w 5359400"/>
                <a:gd name="connsiteY13" fmla="*/ 2819400 h 5257800"/>
                <a:gd name="connsiteX14" fmla="*/ 596900 w 5359400"/>
                <a:gd name="connsiteY14" fmla="*/ 1016000 h 5257800"/>
                <a:gd name="connsiteX15" fmla="*/ 736600 w 5359400"/>
                <a:gd name="connsiteY15" fmla="*/ 647700 h 5257800"/>
                <a:gd name="connsiteX16" fmla="*/ 1270000 w 5359400"/>
                <a:gd name="connsiteY16" fmla="*/ 800100 h 5257800"/>
                <a:gd name="connsiteX17" fmla="*/ 2006600 w 5359400"/>
                <a:gd name="connsiteY17" fmla="*/ 2273300 h 5257800"/>
                <a:gd name="connsiteX18" fmla="*/ 2171700 w 5359400"/>
                <a:gd name="connsiteY18" fmla="*/ 2349500 h 5257800"/>
                <a:gd name="connsiteX19" fmla="*/ 2235200 w 5359400"/>
                <a:gd name="connsiteY19" fmla="*/ 2133600 h 5257800"/>
                <a:gd name="connsiteX20" fmla="*/ 1549400 w 5359400"/>
                <a:gd name="connsiteY20" fmla="*/ 381000 h 5257800"/>
                <a:gd name="connsiteX21" fmla="*/ 1689100 w 5359400"/>
                <a:gd name="connsiteY21" fmla="*/ 114300 h 5257800"/>
                <a:gd name="connsiteX22" fmla="*/ 2133600 w 5359400"/>
                <a:gd name="connsiteY22" fmla="*/ 177800 h 5257800"/>
                <a:gd name="connsiteX23" fmla="*/ 2819400 w 5359400"/>
                <a:gd name="connsiteY23" fmla="*/ 1905000 h 5257800"/>
                <a:gd name="connsiteX24" fmla="*/ 3073400 w 5359400"/>
                <a:gd name="connsiteY24" fmla="*/ 2108200 h 5257800"/>
                <a:gd name="connsiteX25" fmla="*/ 2870200 w 5359400"/>
                <a:gd name="connsiteY25" fmla="*/ 342900 h 5257800"/>
                <a:gd name="connsiteX26" fmla="*/ 3162300 w 5359400"/>
                <a:gd name="connsiteY26" fmla="*/ 0 h 5257800"/>
                <a:gd name="connsiteX27" fmla="*/ 3556000 w 5359400"/>
                <a:gd name="connsiteY27" fmla="*/ 215900 h 5257800"/>
                <a:gd name="connsiteX28" fmla="*/ 3810000 w 5359400"/>
                <a:gd name="connsiteY28" fmla="*/ 2413000 h 5257800"/>
                <a:gd name="connsiteX29" fmla="*/ 3937000 w 5359400"/>
                <a:gd name="connsiteY29" fmla="*/ 2603500 h 5257800"/>
                <a:gd name="connsiteX30" fmla="*/ 4318000 w 5359400"/>
                <a:gd name="connsiteY30" fmla="*/ 1816100 h 5257800"/>
                <a:gd name="connsiteX31" fmla="*/ 4737100 w 5359400"/>
                <a:gd name="connsiteY31" fmla="*/ 1333500 h 5257800"/>
                <a:gd name="connsiteX32" fmla="*/ 5181600 w 5359400"/>
                <a:gd name="connsiteY32" fmla="*/ 1371600 h 5257800"/>
                <a:gd name="connsiteX33" fmla="*/ 5359400 w 5359400"/>
                <a:gd name="connsiteY33" fmla="*/ 1536700 h 5257800"/>
                <a:gd name="connsiteX34" fmla="*/ 4927600 w 5359400"/>
                <a:gd name="connsiteY34" fmla="*/ 2019300 h 5257800"/>
                <a:gd name="connsiteX35" fmla="*/ 4279900 w 5359400"/>
                <a:gd name="connsiteY35" fmla="*/ 4318000 h 5257800"/>
                <a:gd name="connsiteX36" fmla="*/ 3898900 w 5359400"/>
                <a:gd name="connsiteY36" fmla="*/ 4864100 h 5257800"/>
                <a:gd name="connsiteX37" fmla="*/ 3276600 w 5359400"/>
                <a:gd name="connsiteY37" fmla="*/ 5168900 h 5257800"/>
                <a:gd name="connsiteX38" fmla="*/ 2921000 w 5359400"/>
                <a:gd name="connsiteY38" fmla="*/ 5257800 h 5257800"/>
                <a:gd name="connsiteX0" fmla="*/ 2921000 w 5359400"/>
                <a:gd name="connsiteY0" fmla="*/ 5257800 h 5257800"/>
                <a:gd name="connsiteX1" fmla="*/ 2921000 w 5359400"/>
                <a:gd name="connsiteY1" fmla="*/ 5257800 h 5257800"/>
                <a:gd name="connsiteX2" fmla="*/ 2268220 w 5359400"/>
                <a:gd name="connsiteY2" fmla="*/ 5143500 h 5257800"/>
                <a:gd name="connsiteX3" fmla="*/ 1676400 w 5359400"/>
                <a:gd name="connsiteY3" fmla="*/ 4635500 h 5257800"/>
                <a:gd name="connsiteX4" fmla="*/ 1242060 w 5359400"/>
                <a:gd name="connsiteY4" fmla="*/ 3690620 h 5257800"/>
                <a:gd name="connsiteX5" fmla="*/ 165100 w 5359400"/>
                <a:gd name="connsiteY5" fmla="*/ 2082800 h 5257800"/>
                <a:gd name="connsiteX6" fmla="*/ 0 w 5359400"/>
                <a:gd name="connsiteY6" fmla="*/ 1765300 h 5257800"/>
                <a:gd name="connsiteX7" fmla="*/ 165100 w 5359400"/>
                <a:gd name="connsiteY7" fmla="*/ 1587500 h 5257800"/>
                <a:gd name="connsiteX8" fmla="*/ 342900 w 5359400"/>
                <a:gd name="connsiteY8" fmla="*/ 1549400 h 5257800"/>
                <a:gd name="connsiteX9" fmla="*/ 673100 w 5359400"/>
                <a:gd name="connsiteY9" fmla="*/ 1803400 h 5257800"/>
                <a:gd name="connsiteX10" fmla="*/ 1320800 w 5359400"/>
                <a:gd name="connsiteY10" fmla="*/ 2806700 h 5257800"/>
                <a:gd name="connsiteX11" fmla="*/ 1524000 w 5359400"/>
                <a:gd name="connsiteY11" fmla="*/ 2908300 h 5257800"/>
                <a:gd name="connsiteX12" fmla="*/ 1562100 w 5359400"/>
                <a:gd name="connsiteY12" fmla="*/ 2819400 h 5257800"/>
                <a:gd name="connsiteX13" fmla="*/ 596900 w 5359400"/>
                <a:gd name="connsiteY13" fmla="*/ 1016000 h 5257800"/>
                <a:gd name="connsiteX14" fmla="*/ 736600 w 5359400"/>
                <a:gd name="connsiteY14" fmla="*/ 647700 h 5257800"/>
                <a:gd name="connsiteX15" fmla="*/ 1270000 w 5359400"/>
                <a:gd name="connsiteY15" fmla="*/ 800100 h 5257800"/>
                <a:gd name="connsiteX16" fmla="*/ 2006600 w 5359400"/>
                <a:gd name="connsiteY16" fmla="*/ 2273300 h 5257800"/>
                <a:gd name="connsiteX17" fmla="*/ 2171700 w 5359400"/>
                <a:gd name="connsiteY17" fmla="*/ 2349500 h 5257800"/>
                <a:gd name="connsiteX18" fmla="*/ 2235200 w 5359400"/>
                <a:gd name="connsiteY18" fmla="*/ 2133600 h 5257800"/>
                <a:gd name="connsiteX19" fmla="*/ 1549400 w 5359400"/>
                <a:gd name="connsiteY19" fmla="*/ 381000 h 5257800"/>
                <a:gd name="connsiteX20" fmla="*/ 1689100 w 5359400"/>
                <a:gd name="connsiteY20" fmla="*/ 114300 h 5257800"/>
                <a:gd name="connsiteX21" fmla="*/ 2133600 w 5359400"/>
                <a:gd name="connsiteY21" fmla="*/ 177800 h 5257800"/>
                <a:gd name="connsiteX22" fmla="*/ 2819400 w 5359400"/>
                <a:gd name="connsiteY22" fmla="*/ 1905000 h 5257800"/>
                <a:gd name="connsiteX23" fmla="*/ 3073400 w 5359400"/>
                <a:gd name="connsiteY23" fmla="*/ 2108200 h 5257800"/>
                <a:gd name="connsiteX24" fmla="*/ 2870200 w 5359400"/>
                <a:gd name="connsiteY24" fmla="*/ 342900 h 5257800"/>
                <a:gd name="connsiteX25" fmla="*/ 3162300 w 5359400"/>
                <a:gd name="connsiteY25" fmla="*/ 0 h 5257800"/>
                <a:gd name="connsiteX26" fmla="*/ 3556000 w 5359400"/>
                <a:gd name="connsiteY26" fmla="*/ 215900 h 5257800"/>
                <a:gd name="connsiteX27" fmla="*/ 3810000 w 5359400"/>
                <a:gd name="connsiteY27" fmla="*/ 2413000 h 5257800"/>
                <a:gd name="connsiteX28" fmla="*/ 3937000 w 5359400"/>
                <a:gd name="connsiteY28" fmla="*/ 2603500 h 5257800"/>
                <a:gd name="connsiteX29" fmla="*/ 4318000 w 5359400"/>
                <a:gd name="connsiteY29" fmla="*/ 1816100 h 5257800"/>
                <a:gd name="connsiteX30" fmla="*/ 4737100 w 5359400"/>
                <a:gd name="connsiteY30" fmla="*/ 1333500 h 5257800"/>
                <a:gd name="connsiteX31" fmla="*/ 5181600 w 5359400"/>
                <a:gd name="connsiteY31" fmla="*/ 1371600 h 5257800"/>
                <a:gd name="connsiteX32" fmla="*/ 5359400 w 5359400"/>
                <a:gd name="connsiteY32" fmla="*/ 1536700 h 5257800"/>
                <a:gd name="connsiteX33" fmla="*/ 4927600 w 5359400"/>
                <a:gd name="connsiteY33" fmla="*/ 2019300 h 5257800"/>
                <a:gd name="connsiteX34" fmla="*/ 4279900 w 5359400"/>
                <a:gd name="connsiteY34" fmla="*/ 4318000 h 5257800"/>
                <a:gd name="connsiteX35" fmla="*/ 3898900 w 5359400"/>
                <a:gd name="connsiteY35" fmla="*/ 4864100 h 5257800"/>
                <a:gd name="connsiteX36" fmla="*/ 3276600 w 5359400"/>
                <a:gd name="connsiteY36" fmla="*/ 5168900 h 5257800"/>
                <a:gd name="connsiteX37" fmla="*/ 2921000 w 5359400"/>
                <a:gd name="connsiteY37" fmla="*/ 5257800 h 5257800"/>
                <a:gd name="connsiteX0" fmla="*/ 2921000 w 5359400"/>
                <a:gd name="connsiteY0" fmla="*/ 5257800 h 5257800"/>
                <a:gd name="connsiteX1" fmla="*/ 2921000 w 5359400"/>
                <a:gd name="connsiteY1" fmla="*/ 5257800 h 5257800"/>
                <a:gd name="connsiteX2" fmla="*/ 2268220 w 5359400"/>
                <a:gd name="connsiteY2" fmla="*/ 5143500 h 5257800"/>
                <a:gd name="connsiteX3" fmla="*/ 1676400 w 5359400"/>
                <a:gd name="connsiteY3" fmla="*/ 4635500 h 5257800"/>
                <a:gd name="connsiteX4" fmla="*/ 1242060 w 5359400"/>
                <a:gd name="connsiteY4" fmla="*/ 3690620 h 5257800"/>
                <a:gd name="connsiteX5" fmla="*/ 96520 w 5359400"/>
                <a:gd name="connsiteY5" fmla="*/ 2090420 h 5257800"/>
                <a:gd name="connsiteX6" fmla="*/ 0 w 5359400"/>
                <a:gd name="connsiteY6" fmla="*/ 1765300 h 5257800"/>
                <a:gd name="connsiteX7" fmla="*/ 165100 w 5359400"/>
                <a:gd name="connsiteY7" fmla="*/ 1587500 h 5257800"/>
                <a:gd name="connsiteX8" fmla="*/ 342900 w 5359400"/>
                <a:gd name="connsiteY8" fmla="*/ 1549400 h 5257800"/>
                <a:gd name="connsiteX9" fmla="*/ 673100 w 5359400"/>
                <a:gd name="connsiteY9" fmla="*/ 1803400 h 5257800"/>
                <a:gd name="connsiteX10" fmla="*/ 1320800 w 5359400"/>
                <a:gd name="connsiteY10" fmla="*/ 2806700 h 5257800"/>
                <a:gd name="connsiteX11" fmla="*/ 1524000 w 5359400"/>
                <a:gd name="connsiteY11" fmla="*/ 2908300 h 5257800"/>
                <a:gd name="connsiteX12" fmla="*/ 1562100 w 5359400"/>
                <a:gd name="connsiteY12" fmla="*/ 2819400 h 5257800"/>
                <a:gd name="connsiteX13" fmla="*/ 596900 w 5359400"/>
                <a:gd name="connsiteY13" fmla="*/ 1016000 h 5257800"/>
                <a:gd name="connsiteX14" fmla="*/ 736600 w 5359400"/>
                <a:gd name="connsiteY14" fmla="*/ 647700 h 5257800"/>
                <a:gd name="connsiteX15" fmla="*/ 1270000 w 5359400"/>
                <a:gd name="connsiteY15" fmla="*/ 800100 h 5257800"/>
                <a:gd name="connsiteX16" fmla="*/ 2006600 w 5359400"/>
                <a:gd name="connsiteY16" fmla="*/ 2273300 h 5257800"/>
                <a:gd name="connsiteX17" fmla="*/ 2171700 w 5359400"/>
                <a:gd name="connsiteY17" fmla="*/ 2349500 h 5257800"/>
                <a:gd name="connsiteX18" fmla="*/ 2235200 w 5359400"/>
                <a:gd name="connsiteY18" fmla="*/ 2133600 h 5257800"/>
                <a:gd name="connsiteX19" fmla="*/ 1549400 w 5359400"/>
                <a:gd name="connsiteY19" fmla="*/ 381000 h 5257800"/>
                <a:gd name="connsiteX20" fmla="*/ 1689100 w 5359400"/>
                <a:gd name="connsiteY20" fmla="*/ 114300 h 5257800"/>
                <a:gd name="connsiteX21" fmla="*/ 2133600 w 5359400"/>
                <a:gd name="connsiteY21" fmla="*/ 177800 h 5257800"/>
                <a:gd name="connsiteX22" fmla="*/ 2819400 w 5359400"/>
                <a:gd name="connsiteY22" fmla="*/ 1905000 h 5257800"/>
                <a:gd name="connsiteX23" fmla="*/ 3073400 w 5359400"/>
                <a:gd name="connsiteY23" fmla="*/ 2108200 h 5257800"/>
                <a:gd name="connsiteX24" fmla="*/ 2870200 w 5359400"/>
                <a:gd name="connsiteY24" fmla="*/ 342900 h 5257800"/>
                <a:gd name="connsiteX25" fmla="*/ 3162300 w 5359400"/>
                <a:gd name="connsiteY25" fmla="*/ 0 h 5257800"/>
                <a:gd name="connsiteX26" fmla="*/ 3556000 w 5359400"/>
                <a:gd name="connsiteY26" fmla="*/ 215900 h 5257800"/>
                <a:gd name="connsiteX27" fmla="*/ 3810000 w 5359400"/>
                <a:gd name="connsiteY27" fmla="*/ 2413000 h 5257800"/>
                <a:gd name="connsiteX28" fmla="*/ 3937000 w 5359400"/>
                <a:gd name="connsiteY28" fmla="*/ 2603500 h 5257800"/>
                <a:gd name="connsiteX29" fmla="*/ 4318000 w 5359400"/>
                <a:gd name="connsiteY29" fmla="*/ 1816100 h 5257800"/>
                <a:gd name="connsiteX30" fmla="*/ 4737100 w 5359400"/>
                <a:gd name="connsiteY30" fmla="*/ 1333500 h 5257800"/>
                <a:gd name="connsiteX31" fmla="*/ 5181600 w 5359400"/>
                <a:gd name="connsiteY31" fmla="*/ 1371600 h 5257800"/>
                <a:gd name="connsiteX32" fmla="*/ 5359400 w 5359400"/>
                <a:gd name="connsiteY32" fmla="*/ 1536700 h 5257800"/>
                <a:gd name="connsiteX33" fmla="*/ 4927600 w 5359400"/>
                <a:gd name="connsiteY33" fmla="*/ 2019300 h 5257800"/>
                <a:gd name="connsiteX34" fmla="*/ 4279900 w 5359400"/>
                <a:gd name="connsiteY34" fmla="*/ 4318000 h 5257800"/>
                <a:gd name="connsiteX35" fmla="*/ 3898900 w 5359400"/>
                <a:gd name="connsiteY35" fmla="*/ 4864100 h 5257800"/>
                <a:gd name="connsiteX36" fmla="*/ 3276600 w 5359400"/>
                <a:gd name="connsiteY36" fmla="*/ 5168900 h 5257800"/>
                <a:gd name="connsiteX37" fmla="*/ 2921000 w 5359400"/>
                <a:gd name="connsiteY37" fmla="*/ 5257800 h 5257800"/>
                <a:gd name="connsiteX0" fmla="*/ 2925738 w 5364138"/>
                <a:gd name="connsiteY0" fmla="*/ 5257800 h 5257800"/>
                <a:gd name="connsiteX1" fmla="*/ 2925738 w 5364138"/>
                <a:gd name="connsiteY1" fmla="*/ 5257800 h 5257800"/>
                <a:gd name="connsiteX2" fmla="*/ 2272958 w 5364138"/>
                <a:gd name="connsiteY2" fmla="*/ 5143500 h 5257800"/>
                <a:gd name="connsiteX3" fmla="*/ 1681138 w 5364138"/>
                <a:gd name="connsiteY3" fmla="*/ 4635500 h 5257800"/>
                <a:gd name="connsiteX4" fmla="*/ 1246798 w 5364138"/>
                <a:gd name="connsiteY4" fmla="*/ 3690620 h 5257800"/>
                <a:gd name="connsiteX5" fmla="*/ 101258 w 5364138"/>
                <a:gd name="connsiteY5" fmla="*/ 2090420 h 5257800"/>
                <a:gd name="connsiteX6" fmla="*/ 4738 w 5364138"/>
                <a:gd name="connsiteY6" fmla="*/ 1765300 h 5257800"/>
                <a:gd name="connsiteX7" fmla="*/ 169838 w 5364138"/>
                <a:gd name="connsiteY7" fmla="*/ 1587500 h 5257800"/>
                <a:gd name="connsiteX8" fmla="*/ 347638 w 5364138"/>
                <a:gd name="connsiteY8" fmla="*/ 1549400 h 5257800"/>
                <a:gd name="connsiteX9" fmla="*/ 677838 w 5364138"/>
                <a:gd name="connsiteY9" fmla="*/ 1803400 h 5257800"/>
                <a:gd name="connsiteX10" fmla="*/ 1325538 w 5364138"/>
                <a:gd name="connsiteY10" fmla="*/ 2806700 h 5257800"/>
                <a:gd name="connsiteX11" fmla="*/ 1528738 w 5364138"/>
                <a:gd name="connsiteY11" fmla="*/ 2908300 h 5257800"/>
                <a:gd name="connsiteX12" fmla="*/ 1566838 w 5364138"/>
                <a:gd name="connsiteY12" fmla="*/ 2819400 h 5257800"/>
                <a:gd name="connsiteX13" fmla="*/ 601638 w 5364138"/>
                <a:gd name="connsiteY13" fmla="*/ 1016000 h 5257800"/>
                <a:gd name="connsiteX14" fmla="*/ 741338 w 5364138"/>
                <a:gd name="connsiteY14" fmla="*/ 647700 h 5257800"/>
                <a:gd name="connsiteX15" fmla="*/ 1274738 w 5364138"/>
                <a:gd name="connsiteY15" fmla="*/ 800100 h 5257800"/>
                <a:gd name="connsiteX16" fmla="*/ 2011338 w 5364138"/>
                <a:gd name="connsiteY16" fmla="*/ 2273300 h 5257800"/>
                <a:gd name="connsiteX17" fmla="*/ 2176438 w 5364138"/>
                <a:gd name="connsiteY17" fmla="*/ 2349500 h 5257800"/>
                <a:gd name="connsiteX18" fmla="*/ 2239938 w 5364138"/>
                <a:gd name="connsiteY18" fmla="*/ 2133600 h 5257800"/>
                <a:gd name="connsiteX19" fmla="*/ 1554138 w 5364138"/>
                <a:gd name="connsiteY19" fmla="*/ 381000 h 5257800"/>
                <a:gd name="connsiteX20" fmla="*/ 1693838 w 5364138"/>
                <a:gd name="connsiteY20" fmla="*/ 114300 h 5257800"/>
                <a:gd name="connsiteX21" fmla="*/ 2138338 w 5364138"/>
                <a:gd name="connsiteY21" fmla="*/ 177800 h 5257800"/>
                <a:gd name="connsiteX22" fmla="*/ 2824138 w 5364138"/>
                <a:gd name="connsiteY22" fmla="*/ 1905000 h 5257800"/>
                <a:gd name="connsiteX23" fmla="*/ 3078138 w 5364138"/>
                <a:gd name="connsiteY23" fmla="*/ 2108200 h 5257800"/>
                <a:gd name="connsiteX24" fmla="*/ 2874938 w 5364138"/>
                <a:gd name="connsiteY24" fmla="*/ 342900 h 5257800"/>
                <a:gd name="connsiteX25" fmla="*/ 3167038 w 5364138"/>
                <a:gd name="connsiteY25" fmla="*/ 0 h 5257800"/>
                <a:gd name="connsiteX26" fmla="*/ 3560738 w 5364138"/>
                <a:gd name="connsiteY26" fmla="*/ 215900 h 5257800"/>
                <a:gd name="connsiteX27" fmla="*/ 3814738 w 5364138"/>
                <a:gd name="connsiteY27" fmla="*/ 2413000 h 5257800"/>
                <a:gd name="connsiteX28" fmla="*/ 3941738 w 5364138"/>
                <a:gd name="connsiteY28" fmla="*/ 2603500 h 5257800"/>
                <a:gd name="connsiteX29" fmla="*/ 4322738 w 5364138"/>
                <a:gd name="connsiteY29" fmla="*/ 1816100 h 5257800"/>
                <a:gd name="connsiteX30" fmla="*/ 4741838 w 5364138"/>
                <a:gd name="connsiteY30" fmla="*/ 1333500 h 5257800"/>
                <a:gd name="connsiteX31" fmla="*/ 5186338 w 5364138"/>
                <a:gd name="connsiteY31" fmla="*/ 1371600 h 5257800"/>
                <a:gd name="connsiteX32" fmla="*/ 5364138 w 5364138"/>
                <a:gd name="connsiteY32" fmla="*/ 1536700 h 5257800"/>
                <a:gd name="connsiteX33" fmla="*/ 4932338 w 5364138"/>
                <a:gd name="connsiteY33" fmla="*/ 2019300 h 5257800"/>
                <a:gd name="connsiteX34" fmla="*/ 4284638 w 5364138"/>
                <a:gd name="connsiteY34" fmla="*/ 4318000 h 5257800"/>
                <a:gd name="connsiteX35" fmla="*/ 3903638 w 5364138"/>
                <a:gd name="connsiteY35" fmla="*/ 4864100 h 5257800"/>
                <a:gd name="connsiteX36" fmla="*/ 3281338 w 5364138"/>
                <a:gd name="connsiteY36" fmla="*/ 5168900 h 5257800"/>
                <a:gd name="connsiteX37" fmla="*/ 2925738 w 5364138"/>
                <a:gd name="connsiteY37" fmla="*/ 5257800 h 5257800"/>
                <a:gd name="connsiteX0" fmla="*/ 2921000 w 5359400"/>
                <a:gd name="connsiteY0" fmla="*/ 5257800 h 5257800"/>
                <a:gd name="connsiteX1" fmla="*/ 2921000 w 5359400"/>
                <a:gd name="connsiteY1" fmla="*/ 5257800 h 5257800"/>
                <a:gd name="connsiteX2" fmla="*/ 2268220 w 5359400"/>
                <a:gd name="connsiteY2" fmla="*/ 5143500 h 5257800"/>
                <a:gd name="connsiteX3" fmla="*/ 1676400 w 5359400"/>
                <a:gd name="connsiteY3" fmla="*/ 4635500 h 5257800"/>
                <a:gd name="connsiteX4" fmla="*/ 1242060 w 5359400"/>
                <a:gd name="connsiteY4" fmla="*/ 3690620 h 5257800"/>
                <a:gd name="connsiteX5" fmla="*/ 96520 w 5359400"/>
                <a:gd name="connsiteY5" fmla="*/ 2090420 h 5257800"/>
                <a:gd name="connsiteX6" fmla="*/ 0 w 5359400"/>
                <a:gd name="connsiteY6" fmla="*/ 1765300 h 5257800"/>
                <a:gd name="connsiteX7" fmla="*/ 165100 w 5359400"/>
                <a:gd name="connsiteY7" fmla="*/ 1587500 h 5257800"/>
                <a:gd name="connsiteX8" fmla="*/ 342900 w 5359400"/>
                <a:gd name="connsiteY8" fmla="*/ 1549400 h 5257800"/>
                <a:gd name="connsiteX9" fmla="*/ 673100 w 5359400"/>
                <a:gd name="connsiteY9" fmla="*/ 1803400 h 5257800"/>
                <a:gd name="connsiteX10" fmla="*/ 1320800 w 5359400"/>
                <a:gd name="connsiteY10" fmla="*/ 2806700 h 5257800"/>
                <a:gd name="connsiteX11" fmla="*/ 1524000 w 5359400"/>
                <a:gd name="connsiteY11" fmla="*/ 2908300 h 5257800"/>
                <a:gd name="connsiteX12" fmla="*/ 1562100 w 5359400"/>
                <a:gd name="connsiteY12" fmla="*/ 2819400 h 5257800"/>
                <a:gd name="connsiteX13" fmla="*/ 596900 w 5359400"/>
                <a:gd name="connsiteY13" fmla="*/ 1016000 h 5257800"/>
                <a:gd name="connsiteX14" fmla="*/ 736600 w 5359400"/>
                <a:gd name="connsiteY14" fmla="*/ 647700 h 5257800"/>
                <a:gd name="connsiteX15" fmla="*/ 1270000 w 5359400"/>
                <a:gd name="connsiteY15" fmla="*/ 800100 h 5257800"/>
                <a:gd name="connsiteX16" fmla="*/ 2006600 w 5359400"/>
                <a:gd name="connsiteY16" fmla="*/ 2273300 h 5257800"/>
                <a:gd name="connsiteX17" fmla="*/ 2171700 w 5359400"/>
                <a:gd name="connsiteY17" fmla="*/ 2349500 h 5257800"/>
                <a:gd name="connsiteX18" fmla="*/ 2235200 w 5359400"/>
                <a:gd name="connsiteY18" fmla="*/ 2133600 h 5257800"/>
                <a:gd name="connsiteX19" fmla="*/ 1549400 w 5359400"/>
                <a:gd name="connsiteY19" fmla="*/ 381000 h 5257800"/>
                <a:gd name="connsiteX20" fmla="*/ 1689100 w 5359400"/>
                <a:gd name="connsiteY20" fmla="*/ 114300 h 5257800"/>
                <a:gd name="connsiteX21" fmla="*/ 2133600 w 5359400"/>
                <a:gd name="connsiteY21" fmla="*/ 177800 h 5257800"/>
                <a:gd name="connsiteX22" fmla="*/ 2819400 w 5359400"/>
                <a:gd name="connsiteY22" fmla="*/ 1905000 h 5257800"/>
                <a:gd name="connsiteX23" fmla="*/ 3073400 w 5359400"/>
                <a:gd name="connsiteY23" fmla="*/ 2108200 h 5257800"/>
                <a:gd name="connsiteX24" fmla="*/ 2870200 w 5359400"/>
                <a:gd name="connsiteY24" fmla="*/ 342900 h 5257800"/>
                <a:gd name="connsiteX25" fmla="*/ 3162300 w 5359400"/>
                <a:gd name="connsiteY25" fmla="*/ 0 h 5257800"/>
                <a:gd name="connsiteX26" fmla="*/ 3556000 w 5359400"/>
                <a:gd name="connsiteY26" fmla="*/ 215900 h 5257800"/>
                <a:gd name="connsiteX27" fmla="*/ 3810000 w 5359400"/>
                <a:gd name="connsiteY27" fmla="*/ 2413000 h 5257800"/>
                <a:gd name="connsiteX28" fmla="*/ 3937000 w 5359400"/>
                <a:gd name="connsiteY28" fmla="*/ 2603500 h 5257800"/>
                <a:gd name="connsiteX29" fmla="*/ 4318000 w 5359400"/>
                <a:gd name="connsiteY29" fmla="*/ 1816100 h 5257800"/>
                <a:gd name="connsiteX30" fmla="*/ 4737100 w 5359400"/>
                <a:gd name="connsiteY30" fmla="*/ 1333500 h 5257800"/>
                <a:gd name="connsiteX31" fmla="*/ 5181600 w 5359400"/>
                <a:gd name="connsiteY31" fmla="*/ 1371600 h 5257800"/>
                <a:gd name="connsiteX32" fmla="*/ 5359400 w 5359400"/>
                <a:gd name="connsiteY32" fmla="*/ 1536700 h 5257800"/>
                <a:gd name="connsiteX33" fmla="*/ 4927600 w 5359400"/>
                <a:gd name="connsiteY33" fmla="*/ 2019300 h 5257800"/>
                <a:gd name="connsiteX34" fmla="*/ 4279900 w 5359400"/>
                <a:gd name="connsiteY34" fmla="*/ 4318000 h 5257800"/>
                <a:gd name="connsiteX35" fmla="*/ 3898900 w 5359400"/>
                <a:gd name="connsiteY35" fmla="*/ 4864100 h 5257800"/>
                <a:gd name="connsiteX36" fmla="*/ 3276600 w 5359400"/>
                <a:gd name="connsiteY36" fmla="*/ 5168900 h 5257800"/>
                <a:gd name="connsiteX37" fmla="*/ 2921000 w 5359400"/>
                <a:gd name="connsiteY37" fmla="*/ 5257800 h 5257800"/>
                <a:gd name="connsiteX0" fmla="*/ 2921000 w 5359400"/>
                <a:gd name="connsiteY0" fmla="*/ 5257800 h 5257800"/>
                <a:gd name="connsiteX1" fmla="*/ 2921000 w 5359400"/>
                <a:gd name="connsiteY1" fmla="*/ 5257800 h 5257800"/>
                <a:gd name="connsiteX2" fmla="*/ 2268220 w 5359400"/>
                <a:gd name="connsiteY2" fmla="*/ 5143500 h 5257800"/>
                <a:gd name="connsiteX3" fmla="*/ 1676400 w 5359400"/>
                <a:gd name="connsiteY3" fmla="*/ 4635500 h 5257800"/>
                <a:gd name="connsiteX4" fmla="*/ 1242060 w 5359400"/>
                <a:gd name="connsiteY4" fmla="*/ 3690620 h 5257800"/>
                <a:gd name="connsiteX5" fmla="*/ 96520 w 5359400"/>
                <a:gd name="connsiteY5" fmla="*/ 2090420 h 5257800"/>
                <a:gd name="connsiteX6" fmla="*/ 0 w 5359400"/>
                <a:gd name="connsiteY6" fmla="*/ 1765300 h 5257800"/>
                <a:gd name="connsiteX7" fmla="*/ 165100 w 5359400"/>
                <a:gd name="connsiteY7" fmla="*/ 1587500 h 5257800"/>
                <a:gd name="connsiteX8" fmla="*/ 342900 w 5359400"/>
                <a:gd name="connsiteY8" fmla="*/ 1549400 h 5257800"/>
                <a:gd name="connsiteX9" fmla="*/ 673100 w 5359400"/>
                <a:gd name="connsiteY9" fmla="*/ 1803400 h 5257800"/>
                <a:gd name="connsiteX10" fmla="*/ 1320800 w 5359400"/>
                <a:gd name="connsiteY10" fmla="*/ 2806700 h 5257800"/>
                <a:gd name="connsiteX11" fmla="*/ 1524000 w 5359400"/>
                <a:gd name="connsiteY11" fmla="*/ 2908300 h 5257800"/>
                <a:gd name="connsiteX12" fmla="*/ 1562100 w 5359400"/>
                <a:gd name="connsiteY12" fmla="*/ 2819400 h 5257800"/>
                <a:gd name="connsiteX13" fmla="*/ 596900 w 5359400"/>
                <a:gd name="connsiteY13" fmla="*/ 1016000 h 5257800"/>
                <a:gd name="connsiteX14" fmla="*/ 736600 w 5359400"/>
                <a:gd name="connsiteY14" fmla="*/ 647700 h 5257800"/>
                <a:gd name="connsiteX15" fmla="*/ 1270000 w 5359400"/>
                <a:gd name="connsiteY15" fmla="*/ 800100 h 5257800"/>
                <a:gd name="connsiteX16" fmla="*/ 2006600 w 5359400"/>
                <a:gd name="connsiteY16" fmla="*/ 2273300 h 5257800"/>
                <a:gd name="connsiteX17" fmla="*/ 2171700 w 5359400"/>
                <a:gd name="connsiteY17" fmla="*/ 2349500 h 5257800"/>
                <a:gd name="connsiteX18" fmla="*/ 2235200 w 5359400"/>
                <a:gd name="connsiteY18" fmla="*/ 2133600 h 5257800"/>
                <a:gd name="connsiteX19" fmla="*/ 1549400 w 5359400"/>
                <a:gd name="connsiteY19" fmla="*/ 381000 h 5257800"/>
                <a:gd name="connsiteX20" fmla="*/ 1689100 w 5359400"/>
                <a:gd name="connsiteY20" fmla="*/ 114300 h 5257800"/>
                <a:gd name="connsiteX21" fmla="*/ 2133600 w 5359400"/>
                <a:gd name="connsiteY21" fmla="*/ 177800 h 5257800"/>
                <a:gd name="connsiteX22" fmla="*/ 2819400 w 5359400"/>
                <a:gd name="connsiteY22" fmla="*/ 1905000 h 5257800"/>
                <a:gd name="connsiteX23" fmla="*/ 3073400 w 5359400"/>
                <a:gd name="connsiteY23" fmla="*/ 2108200 h 5257800"/>
                <a:gd name="connsiteX24" fmla="*/ 2870200 w 5359400"/>
                <a:gd name="connsiteY24" fmla="*/ 342900 h 5257800"/>
                <a:gd name="connsiteX25" fmla="*/ 3162300 w 5359400"/>
                <a:gd name="connsiteY25" fmla="*/ 0 h 5257800"/>
                <a:gd name="connsiteX26" fmla="*/ 3556000 w 5359400"/>
                <a:gd name="connsiteY26" fmla="*/ 215900 h 5257800"/>
                <a:gd name="connsiteX27" fmla="*/ 3810000 w 5359400"/>
                <a:gd name="connsiteY27" fmla="*/ 2413000 h 5257800"/>
                <a:gd name="connsiteX28" fmla="*/ 3937000 w 5359400"/>
                <a:gd name="connsiteY28" fmla="*/ 2603500 h 5257800"/>
                <a:gd name="connsiteX29" fmla="*/ 4318000 w 5359400"/>
                <a:gd name="connsiteY29" fmla="*/ 1816100 h 5257800"/>
                <a:gd name="connsiteX30" fmla="*/ 4737100 w 5359400"/>
                <a:gd name="connsiteY30" fmla="*/ 1333500 h 5257800"/>
                <a:gd name="connsiteX31" fmla="*/ 5181600 w 5359400"/>
                <a:gd name="connsiteY31" fmla="*/ 1371600 h 5257800"/>
                <a:gd name="connsiteX32" fmla="*/ 5359400 w 5359400"/>
                <a:gd name="connsiteY32" fmla="*/ 1536700 h 5257800"/>
                <a:gd name="connsiteX33" fmla="*/ 4927600 w 5359400"/>
                <a:gd name="connsiteY33" fmla="*/ 2019300 h 5257800"/>
                <a:gd name="connsiteX34" fmla="*/ 4279900 w 5359400"/>
                <a:gd name="connsiteY34" fmla="*/ 4318000 h 5257800"/>
                <a:gd name="connsiteX35" fmla="*/ 3898900 w 5359400"/>
                <a:gd name="connsiteY35" fmla="*/ 4864100 h 5257800"/>
                <a:gd name="connsiteX36" fmla="*/ 3276600 w 5359400"/>
                <a:gd name="connsiteY36" fmla="*/ 5168900 h 5257800"/>
                <a:gd name="connsiteX37" fmla="*/ 2921000 w 5359400"/>
                <a:gd name="connsiteY37" fmla="*/ 5257800 h 5257800"/>
                <a:gd name="connsiteX0" fmla="*/ 2921000 w 5359400"/>
                <a:gd name="connsiteY0" fmla="*/ 5257800 h 5257800"/>
                <a:gd name="connsiteX1" fmla="*/ 2921000 w 5359400"/>
                <a:gd name="connsiteY1" fmla="*/ 5257800 h 5257800"/>
                <a:gd name="connsiteX2" fmla="*/ 2268220 w 5359400"/>
                <a:gd name="connsiteY2" fmla="*/ 5143500 h 5257800"/>
                <a:gd name="connsiteX3" fmla="*/ 1676400 w 5359400"/>
                <a:gd name="connsiteY3" fmla="*/ 4635500 h 5257800"/>
                <a:gd name="connsiteX4" fmla="*/ 1242060 w 5359400"/>
                <a:gd name="connsiteY4" fmla="*/ 3690620 h 5257800"/>
                <a:gd name="connsiteX5" fmla="*/ 96520 w 5359400"/>
                <a:gd name="connsiteY5" fmla="*/ 2090420 h 5257800"/>
                <a:gd name="connsiteX6" fmla="*/ 0 w 5359400"/>
                <a:gd name="connsiteY6" fmla="*/ 1765300 h 5257800"/>
                <a:gd name="connsiteX7" fmla="*/ 165100 w 5359400"/>
                <a:gd name="connsiteY7" fmla="*/ 1587500 h 5257800"/>
                <a:gd name="connsiteX8" fmla="*/ 342900 w 5359400"/>
                <a:gd name="connsiteY8" fmla="*/ 1549400 h 5257800"/>
                <a:gd name="connsiteX9" fmla="*/ 673100 w 5359400"/>
                <a:gd name="connsiteY9" fmla="*/ 1803400 h 5257800"/>
                <a:gd name="connsiteX10" fmla="*/ 1320800 w 5359400"/>
                <a:gd name="connsiteY10" fmla="*/ 2806700 h 5257800"/>
                <a:gd name="connsiteX11" fmla="*/ 1524000 w 5359400"/>
                <a:gd name="connsiteY11" fmla="*/ 2908300 h 5257800"/>
                <a:gd name="connsiteX12" fmla="*/ 1562100 w 5359400"/>
                <a:gd name="connsiteY12" fmla="*/ 2819400 h 5257800"/>
                <a:gd name="connsiteX13" fmla="*/ 596900 w 5359400"/>
                <a:gd name="connsiteY13" fmla="*/ 1016000 h 5257800"/>
                <a:gd name="connsiteX14" fmla="*/ 736600 w 5359400"/>
                <a:gd name="connsiteY14" fmla="*/ 647700 h 5257800"/>
                <a:gd name="connsiteX15" fmla="*/ 1270000 w 5359400"/>
                <a:gd name="connsiteY15" fmla="*/ 800100 h 5257800"/>
                <a:gd name="connsiteX16" fmla="*/ 2006600 w 5359400"/>
                <a:gd name="connsiteY16" fmla="*/ 2273300 h 5257800"/>
                <a:gd name="connsiteX17" fmla="*/ 2171700 w 5359400"/>
                <a:gd name="connsiteY17" fmla="*/ 2349500 h 5257800"/>
                <a:gd name="connsiteX18" fmla="*/ 2235200 w 5359400"/>
                <a:gd name="connsiteY18" fmla="*/ 2133600 h 5257800"/>
                <a:gd name="connsiteX19" fmla="*/ 1549400 w 5359400"/>
                <a:gd name="connsiteY19" fmla="*/ 381000 h 5257800"/>
                <a:gd name="connsiteX20" fmla="*/ 1689100 w 5359400"/>
                <a:gd name="connsiteY20" fmla="*/ 114300 h 5257800"/>
                <a:gd name="connsiteX21" fmla="*/ 2133600 w 5359400"/>
                <a:gd name="connsiteY21" fmla="*/ 177800 h 5257800"/>
                <a:gd name="connsiteX22" fmla="*/ 2819400 w 5359400"/>
                <a:gd name="connsiteY22" fmla="*/ 1905000 h 5257800"/>
                <a:gd name="connsiteX23" fmla="*/ 3073400 w 5359400"/>
                <a:gd name="connsiteY23" fmla="*/ 2108200 h 5257800"/>
                <a:gd name="connsiteX24" fmla="*/ 2870200 w 5359400"/>
                <a:gd name="connsiteY24" fmla="*/ 342900 h 5257800"/>
                <a:gd name="connsiteX25" fmla="*/ 3162300 w 5359400"/>
                <a:gd name="connsiteY25" fmla="*/ 0 h 5257800"/>
                <a:gd name="connsiteX26" fmla="*/ 3556000 w 5359400"/>
                <a:gd name="connsiteY26" fmla="*/ 215900 h 5257800"/>
                <a:gd name="connsiteX27" fmla="*/ 3810000 w 5359400"/>
                <a:gd name="connsiteY27" fmla="*/ 2413000 h 5257800"/>
                <a:gd name="connsiteX28" fmla="*/ 3937000 w 5359400"/>
                <a:gd name="connsiteY28" fmla="*/ 2603500 h 5257800"/>
                <a:gd name="connsiteX29" fmla="*/ 4318000 w 5359400"/>
                <a:gd name="connsiteY29" fmla="*/ 1816100 h 5257800"/>
                <a:gd name="connsiteX30" fmla="*/ 4737100 w 5359400"/>
                <a:gd name="connsiteY30" fmla="*/ 1333500 h 5257800"/>
                <a:gd name="connsiteX31" fmla="*/ 5181600 w 5359400"/>
                <a:gd name="connsiteY31" fmla="*/ 1371600 h 5257800"/>
                <a:gd name="connsiteX32" fmla="*/ 5359400 w 5359400"/>
                <a:gd name="connsiteY32" fmla="*/ 1536700 h 5257800"/>
                <a:gd name="connsiteX33" fmla="*/ 4927600 w 5359400"/>
                <a:gd name="connsiteY33" fmla="*/ 2019300 h 5257800"/>
                <a:gd name="connsiteX34" fmla="*/ 4279900 w 5359400"/>
                <a:gd name="connsiteY34" fmla="*/ 4318000 h 5257800"/>
                <a:gd name="connsiteX35" fmla="*/ 3898900 w 5359400"/>
                <a:gd name="connsiteY35" fmla="*/ 4864100 h 5257800"/>
                <a:gd name="connsiteX36" fmla="*/ 3276600 w 5359400"/>
                <a:gd name="connsiteY36" fmla="*/ 5168900 h 5257800"/>
                <a:gd name="connsiteX37" fmla="*/ 2921000 w 5359400"/>
                <a:gd name="connsiteY37" fmla="*/ 5257800 h 5257800"/>
                <a:gd name="connsiteX0" fmla="*/ 2921000 w 5359400"/>
                <a:gd name="connsiteY0" fmla="*/ 5257800 h 5257800"/>
                <a:gd name="connsiteX1" fmla="*/ 2921000 w 5359400"/>
                <a:gd name="connsiteY1" fmla="*/ 5257800 h 5257800"/>
                <a:gd name="connsiteX2" fmla="*/ 2268220 w 5359400"/>
                <a:gd name="connsiteY2" fmla="*/ 5143500 h 5257800"/>
                <a:gd name="connsiteX3" fmla="*/ 1676400 w 5359400"/>
                <a:gd name="connsiteY3" fmla="*/ 4635500 h 5257800"/>
                <a:gd name="connsiteX4" fmla="*/ 1242060 w 5359400"/>
                <a:gd name="connsiteY4" fmla="*/ 3690620 h 5257800"/>
                <a:gd name="connsiteX5" fmla="*/ 96520 w 5359400"/>
                <a:gd name="connsiteY5" fmla="*/ 2090420 h 5257800"/>
                <a:gd name="connsiteX6" fmla="*/ 0 w 5359400"/>
                <a:gd name="connsiteY6" fmla="*/ 1765300 h 5257800"/>
                <a:gd name="connsiteX7" fmla="*/ 165100 w 5359400"/>
                <a:gd name="connsiteY7" fmla="*/ 1587500 h 5257800"/>
                <a:gd name="connsiteX8" fmla="*/ 342900 w 5359400"/>
                <a:gd name="connsiteY8" fmla="*/ 1549400 h 5257800"/>
                <a:gd name="connsiteX9" fmla="*/ 673100 w 5359400"/>
                <a:gd name="connsiteY9" fmla="*/ 1803400 h 5257800"/>
                <a:gd name="connsiteX10" fmla="*/ 1320800 w 5359400"/>
                <a:gd name="connsiteY10" fmla="*/ 2806700 h 5257800"/>
                <a:gd name="connsiteX11" fmla="*/ 1524000 w 5359400"/>
                <a:gd name="connsiteY11" fmla="*/ 2908300 h 5257800"/>
                <a:gd name="connsiteX12" fmla="*/ 1562100 w 5359400"/>
                <a:gd name="connsiteY12" fmla="*/ 2819400 h 5257800"/>
                <a:gd name="connsiteX13" fmla="*/ 596900 w 5359400"/>
                <a:gd name="connsiteY13" fmla="*/ 1016000 h 5257800"/>
                <a:gd name="connsiteX14" fmla="*/ 736600 w 5359400"/>
                <a:gd name="connsiteY14" fmla="*/ 647700 h 5257800"/>
                <a:gd name="connsiteX15" fmla="*/ 1270000 w 5359400"/>
                <a:gd name="connsiteY15" fmla="*/ 800100 h 5257800"/>
                <a:gd name="connsiteX16" fmla="*/ 2006600 w 5359400"/>
                <a:gd name="connsiteY16" fmla="*/ 2273300 h 5257800"/>
                <a:gd name="connsiteX17" fmla="*/ 2171700 w 5359400"/>
                <a:gd name="connsiteY17" fmla="*/ 2349500 h 5257800"/>
                <a:gd name="connsiteX18" fmla="*/ 2235200 w 5359400"/>
                <a:gd name="connsiteY18" fmla="*/ 2133600 h 5257800"/>
                <a:gd name="connsiteX19" fmla="*/ 1549400 w 5359400"/>
                <a:gd name="connsiteY19" fmla="*/ 381000 h 5257800"/>
                <a:gd name="connsiteX20" fmla="*/ 1689100 w 5359400"/>
                <a:gd name="connsiteY20" fmla="*/ 114300 h 5257800"/>
                <a:gd name="connsiteX21" fmla="*/ 2133600 w 5359400"/>
                <a:gd name="connsiteY21" fmla="*/ 177800 h 5257800"/>
                <a:gd name="connsiteX22" fmla="*/ 2819400 w 5359400"/>
                <a:gd name="connsiteY22" fmla="*/ 1905000 h 5257800"/>
                <a:gd name="connsiteX23" fmla="*/ 3073400 w 5359400"/>
                <a:gd name="connsiteY23" fmla="*/ 2108200 h 5257800"/>
                <a:gd name="connsiteX24" fmla="*/ 2870200 w 5359400"/>
                <a:gd name="connsiteY24" fmla="*/ 342900 h 5257800"/>
                <a:gd name="connsiteX25" fmla="*/ 3162300 w 5359400"/>
                <a:gd name="connsiteY25" fmla="*/ 0 h 5257800"/>
                <a:gd name="connsiteX26" fmla="*/ 3556000 w 5359400"/>
                <a:gd name="connsiteY26" fmla="*/ 215900 h 5257800"/>
                <a:gd name="connsiteX27" fmla="*/ 3810000 w 5359400"/>
                <a:gd name="connsiteY27" fmla="*/ 2413000 h 5257800"/>
                <a:gd name="connsiteX28" fmla="*/ 3937000 w 5359400"/>
                <a:gd name="connsiteY28" fmla="*/ 2603500 h 5257800"/>
                <a:gd name="connsiteX29" fmla="*/ 4318000 w 5359400"/>
                <a:gd name="connsiteY29" fmla="*/ 1816100 h 5257800"/>
                <a:gd name="connsiteX30" fmla="*/ 4737100 w 5359400"/>
                <a:gd name="connsiteY30" fmla="*/ 1333500 h 5257800"/>
                <a:gd name="connsiteX31" fmla="*/ 5181600 w 5359400"/>
                <a:gd name="connsiteY31" fmla="*/ 1371600 h 5257800"/>
                <a:gd name="connsiteX32" fmla="*/ 5359400 w 5359400"/>
                <a:gd name="connsiteY32" fmla="*/ 1536700 h 5257800"/>
                <a:gd name="connsiteX33" fmla="*/ 4927600 w 5359400"/>
                <a:gd name="connsiteY33" fmla="*/ 2019300 h 5257800"/>
                <a:gd name="connsiteX34" fmla="*/ 4279900 w 5359400"/>
                <a:gd name="connsiteY34" fmla="*/ 4318000 h 5257800"/>
                <a:gd name="connsiteX35" fmla="*/ 3898900 w 5359400"/>
                <a:gd name="connsiteY35" fmla="*/ 4864100 h 5257800"/>
                <a:gd name="connsiteX36" fmla="*/ 3276600 w 5359400"/>
                <a:gd name="connsiteY36" fmla="*/ 5168900 h 5257800"/>
                <a:gd name="connsiteX37" fmla="*/ 2921000 w 5359400"/>
                <a:gd name="connsiteY37" fmla="*/ 5257800 h 5257800"/>
                <a:gd name="connsiteX0" fmla="*/ 2921000 w 5359400"/>
                <a:gd name="connsiteY0" fmla="*/ 5257800 h 5257800"/>
                <a:gd name="connsiteX1" fmla="*/ 2921000 w 5359400"/>
                <a:gd name="connsiteY1" fmla="*/ 5257800 h 5257800"/>
                <a:gd name="connsiteX2" fmla="*/ 2268220 w 5359400"/>
                <a:gd name="connsiteY2" fmla="*/ 5143500 h 5257800"/>
                <a:gd name="connsiteX3" fmla="*/ 1676400 w 5359400"/>
                <a:gd name="connsiteY3" fmla="*/ 4635500 h 5257800"/>
                <a:gd name="connsiteX4" fmla="*/ 1242060 w 5359400"/>
                <a:gd name="connsiteY4" fmla="*/ 3690620 h 5257800"/>
                <a:gd name="connsiteX5" fmla="*/ 96520 w 5359400"/>
                <a:gd name="connsiteY5" fmla="*/ 2090420 h 5257800"/>
                <a:gd name="connsiteX6" fmla="*/ 0 w 5359400"/>
                <a:gd name="connsiteY6" fmla="*/ 1765300 h 5257800"/>
                <a:gd name="connsiteX7" fmla="*/ 165100 w 5359400"/>
                <a:gd name="connsiteY7" fmla="*/ 1587500 h 5257800"/>
                <a:gd name="connsiteX8" fmla="*/ 342900 w 5359400"/>
                <a:gd name="connsiteY8" fmla="*/ 1549400 h 5257800"/>
                <a:gd name="connsiteX9" fmla="*/ 673100 w 5359400"/>
                <a:gd name="connsiteY9" fmla="*/ 1803400 h 5257800"/>
                <a:gd name="connsiteX10" fmla="*/ 1320800 w 5359400"/>
                <a:gd name="connsiteY10" fmla="*/ 2806700 h 5257800"/>
                <a:gd name="connsiteX11" fmla="*/ 1524000 w 5359400"/>
                <a:gd name="connsiteY11" fmla="*/ 2908300 h 5257800"/>
                <a:gd name="connsiteX12" fmla="*/ 1562100 w 5359400"/>
                <a:gd name="connsiteY12" fmla="*/ 2819400 h 5257800"/>
                <a:gd name="connsiteX13" fmla="*/ 596900 w 5359400"/>
                <a:gd name="connsiteY13" fmla="*/ 1016000 h 5257800"/>
                <a:gd name="connsiteX14" fmla="*/ 736600 w 5359400"/>
                <a:gd name="connsiteY14" fmla="*/ 647700 h 5257800"/>
                <a:gd name="connsiteX15" fmla="*/ 1270000 w 5359400"/>
                <a:gd name="connsiteY15" fmla="*/ 800100 h 5257800"/>
                <a:gd name="connsiteX16" fmla="*/ 2006600 w 5359400"/>
                <a:gd name="connsiteY16" fmla="*/ 2273300 h 5257800"/>
                <a:gd name="connsiteX17" fmla="*/ 2171700 w 5359400"/>
                <a:gd name="connsiteY17" fmla="*/ 2349500 h 5257800"/>
                <a:gd name="connsiteX18" fmla="*/ 2235200 w 5359400"/>
                <a:gd name="connsiteY18" fmla="*/ 2133600 h 5257800"/>
                <a:gd name="connsiteX19" fmla="*/ 1549400 w 5359400"/>
                <a:gd name="connsiteY19" fmla="*/ 381000 h 5257800"/>
                <a:gd name="connsiteX20" fmla="*/ 1689100 w 5359400"/>
                <a:gd name="connsiteY20" fmla="*/ 114300 h 5257800"/>
                <a:gd name="connsiteX21" fmla="*/ 2133600 w 5359400"/>
                <a:gd name="connsiteY21" fmla="*/ 177800 h 5257800"/>
                <a:gd name="connsiteX22" fmla="*/ 2819400 w 5359400"/>
                <a:gd name="connsiteY22" fmla="*/ 1905000 h 5257800"/>
                <a:gd name="connsiteX23" fmla="*/ 3073400 w 5359400"/>
                <a:gd name="connsiteY23" fmla="*/ 2108200 h 5257800"/>
                <a:gd name="connsiteX24" fmla="*/ 2870200 w 5359400"/>
                <a:gd name="connsiteY24" fmla="*/ 342900 h 5257800"/>
                <a:gd name="connsiteX25" fmla="*/ 3162300 w 5359400"/>
                <a:gd name="connsiteY25" fmla="*/ 0 h 5257800"/>
                <a:gd name="connsiteX26" fmla="*/ 3556000 w 5359400"/>
                <a:gd name="connsiteY26" fmla="*/ 215900 h 5257800"/>
                <a:gd name="connsiteX27" fmla="*/ 3810000 w 5359400"/>
                <a:gd name="connsiteY27" fmla="*/ 2413000 h 5257800"/>
                <a:gd name="connsiteX28" fmla="*/ 3937000 w 5359400"/>
                <a:gd name="connsiteY28" fmla="*/ 2603500 h 5257800"/>
                <a:gd name="connsiteX29" fmla="*/ 4318000 w 5359400"/>
                <a:gd name="connsiteY29" fmla="*/ 1816100 h 5257800"/>
                <a:gd name="connsiteX30" fmla="*/ 4737100 w 5359400"/>
                <a:gd name="connsiteY30" fmla="*/ 1333500 h 5257800"/>
                <a:gd name="connsiteX31" fmla="*/ 5181600 w 5359400"/>
                <a:gd name="connsiteY31" fmla="*/ 1371600 h 5257800"/>
                <a:gd name="connsiteX32" fmla="*/ 5359400 w 5359400"/>
                <a:gd name="connsiteY32" fmla="*/ 1536700 h 5257800"/>
                <a:gd name="connsiteX33" fmla="*/ 4927600 w 5359400"/>
                <a:gd name="connsiteY33" fmla="*/ 2019300 h 5257800"/>
                <a:gd name="connsiteX34" fmla="*/ 4279900 w 5359400"/>
                <a:gd name="connsiteY34" fmla="*/ 4318000 h 5257800"/>
                <a:gd name="connsiteX35" fmla="*/ 3898900 w 5359400"/>
                <a:gd name="connsiteY35" fmla="*/ 4864100 h 5257800"/>
                <a:gd name="connsiteX36" fmla="*/ 3276600 w 5359400"/>
                <a:gd name="connsiteY36" fmla="*/ 5168900 h 5257800"/>
                <a:gd name="connsiteX37" fmla="*/ 2921000 w 5359400"/>
                <a:gd name="connsiteY37" fmla="*/ 5257800 h 5257800"/>
                <a:gd name="connsiteX0" fmla="*/ 2921000 w 5359400"/>
                <a:gd name="connsiteY0" fmla="*/ 5257800 h 5257800"/>
                <a:gd name="connsiteX1" fmla="*/ 2921000 w 5359400"/>
                <a:gd name="connsiteY1" fmla="*/ 5257800 h 5257800"/>
                <a:gd name="connsiteX2" fmla="*/ 2268220 w 5359400"/>
                <a:gd name="connsiteY2" fmla="*/ 5143500 h 5257800"/>
                <a:gd name="connsiteX3" fmla="*/ 1676400 w 5359400"/>
                <a:gd name="connsiteY3" fmla="*/ 4635500 h 5257800"/>
                <a:gd name="connsiteX4" fmla="*/ 1242060 w 5359400"/>
                <a:gd name="connsiteY4" fmla="*/ 3690620 h 5257800"/>
                <a:gd name="connsiteX5" fmla="*/ 96520 w 5359400"/>
                <a:gd name="connsiteY5" fmla="*/ 2090420 h 5257800"/>
                <a:gd name="connsiteX6" fmla="*/ 0 w 5359400"/>
                <a:gd name="connsiteY6" fmla="*/ 1765300 h 5257800"/>
                <a:gd name="connsiteX7" fmla="*/ 165100 w 5359400"/>
                <a:gd name="connsiteY7" fmla="*/ 1587500 h 5257800"/>
                <a:gd name="connsiteX8" fmla="*/ 342900 w 5359400"/>
                <a:gd name="connsiteY8" fmla="*/ 1549400 h 5257800"/>
                <a:gd name="connsiteX9" fmla="*/ 673100 w 5359400"/>
                <a:gd name="connsiteY9" fmla="*/ 1803400 h 5257800"/>
                <a:gd name="connsiteX10" fmla="*/ 1320800 w 5359400"/>
                <a:gd name="connsiteY10" fmla="*/ 2806700 h 5257800"/>
                <a:gd name="connsiteX11" fmla="*/ 1524000 w 5359400"/>
                <a:gd name="connsiteY11" fmla="*/ 2908300 h 5257800"/>
                <a:gd name="connsiteX12" fmla="*/ 1562100 w 5359400"/>
                <a:gd name="connsiteY12" fmla="*/ 2819400 h 5257800"/>
                <a:gd name="connsiteX13" fmla="*/ 596900 w 5359400"/>
                <a:gd name="connsiteY13" fmla="*/ 1016000 h 5257800"/>
                <a:gd name="connsiteX14" fmla="*/ 736600 w 5359400"/>
                <a:gd name="connsiteY14" fmla="*/ 647700 h 5257800"/>
                <a:gd name="connsiteX15" fmla="*/ 1270000 w 5359400"/>
                <a:gd name="connsiteY15" fmla="*/ 800100 h 5257800"/>
                <a:gd name="connsiteX16" fmla="*/ 2006600 w 5359400"/>
                <a:gd name="connsiteY16" fmla="*/ 2273300 h 5257800"/>
                <a:gd name="connsiteX17" fmla="*/ 2171700 w 5359400"/>
                <a:gd name="connsiteY17" fmla="*/ 2349500 h 5257800"/>
                <a:gd name="connsiteX18" fmla="*/ 2235200 w 5359400"/>
                <a:gd name="connsiteY18" fmla="*/ 2133600 h 5257800"/>
                <a:gd name="connsiteX19" fmla="*/ 1549400 w 5359400"/>
                <a:gd name="connsiteY19" fmla="*/ 381000 h 5257800"/>
                <a:gd name="connsiteX20" fmla="*/ 1689100 w 5359400"/>
                <a:gd name="connsiteY20" fmla="*/ 114300 h 5257800"/>
                <a:gd name="connsiteX21" fmla="*/ 2133600 w 5359400"/>
                <a:gd name="connsiteY21" fmla="*/ 177800 h 5257800"/>
                <a:gd name="connsiteX22" fmla="*/ 2819400 w 5359400"/>
                <a:gd name="connsiteY22" fmla="*/ 1905000 h 5257800"/>
                <a:gd name="connsiteX23" fmla="*/ 3073400 w 5359400"/>
                <a:gd name="connsiteY23" fmla="*/ 2108200 h 5257800"/>
                <a:gd name="connsiteX24" fmla="*/ 2870200 w 5359400"/>
                <a:gd name="connsiteY24" fmla="*/ 342900 h 5257800"/>
                <a:gd name="connsiteX25" fmla="*/ 3162300 w 5359400"/>
                <a:gd name="connsiteY25" fmla="*/ 0 h 5257800"/>
                <a:gd name="connsiteX26" fmla="*/ 3556000 w 5359400"/>
                <a:gd name="connsiteY26" fmla="*/ 215900 h 5257800"/>
                <a:gd name="connsiteX27" fmla="*/ 3810000 w 5359400"/>
                <a:gd name="connsiteY27" fmla="*/ 2413000 h 5257800"/>
                <a:gd name="connsiteX28" fmla="*/ 3937000 w 5359400"/>
                <a:gd name="connsiteY28" fmla="*/ 2603500 h 5257800"/>
                <a:gd name="connsiteX29" fmla="*/ 4318000 w 5359400"/>
                <a:gd name="connsiteY29" fmla="*/ 1816100 h 5257800"/>
                <a:gd name="connsiteX30" fmla="*/ 4737100 w 5359400"/>
                <a:gd name="connsiteY30" fmla="*/ 1333500 h 5257800"/>
                <a:gd name="connsiteX31" fmla="*/ 5181600 w 5359400"/>
                <a:gd name="connsiteY31" fmla="*/ 1371600 h 5257800"/>
                <a:gd name="connsiteX32" fmla="*/ 5359400 w 5359400"/>
                <a:gd name="connsiteY32" fmla="*/ 1536700 h 5257800"/>
                <a:gd name="connsiteX33" fmla="*/ 4927600 w 5359400"/>
                <a:gd name="connsiteY33" fmla="*/ 2019300 h 5257800"/>
                <a:gd name="connsiteX34" fmla="*/ 4279900 w 5359400"/>
                <a:gd name="connsiteY34" fmla="*/ 4318000 h 5257800"/>
                <a:gd name="connsiteX35" fmla="*/ 3898900 w 5359400"/>
                <a:gd name="connsiteY35" fmla="*/ 4864100 h 5257800"/>
                <a:gd name="connsiteX36" fmla="*/ 3276600 w 5359400"/>
                <a:gd name="connsiteY36" fmla="*/ 5168900 h 5257800"/>
                <a:gd name="connsiteX37" fmla="*/ 2921000 w 5359400"/>
                <a:gd name="connsiteY37" fmla="*/ 5257800 h 5257800"/>
                <a:gd name="connsiteX0" fmla="*/ 2921000 w 5359400"/>
                <a:gd name="connsiteY0" fmla="*/ 5257800 h 5257800"/>
                <a:gd name="connsiteX1" fmla="*/ 2921000 w 5359400"/>
                <a:gd name="connsiteY1" fmla="*/ 5257800 h 5257800"/>
                <a:gd name="connsiteX2" fmla="*/ 2268220 w 5359400"/>
                <a:gd name="connsiteY2" fmla="*/ 5143500 h 5257800"/>
                <a:gd name="connsiteX3" fmla="*/ 1676400 w 5359400"/>
                <a:gd name="connsiteY3" fmla="*/ 4635500 h 5257800"/>
                <a:gd name="connsiteX4" fmla="*/ 1242060 w 5359400"/>
                <a:gd name="connsiteY4" fmla="*/ 3690620 h 5257800"/>
                <a:gd name="connsiteX5" fmla="*/ 96520 w 5359400"/>
                <a:gd name="connsiteY5" fmla="*/ 2090420 h 5257800"/>
                <a:gd name="connsiteX6" fmla="*/ 0 w 5359400"/>
                <a:gd name="connsiteY6" fmla="*/ 1765300 h 5257800"/>
                <a:gd name="connsiteX7" fmla="*/ 165100 w 5359400"/>
                <a:gd name="connsiteY7" fmla="*/ 1587500 h 5257800"/>
                <a:gd name="connsiteX8" fmla="*/ 342900 w 5359400"/>
                <a:gd name="connsiteY8" fmla="*/ 1549400 h 5257800"/>
                <a:gd name="connsiteX9" fmla="*/ 673100 w 5359400"/>
                <a:gd name="connsiteY9" fmla="*/ 1803400 h 5257800"/>
                <a:gd name="connsiteX10" fmla="*/ 1320800 w 5359400"/>
                <a:gd name="connsiteY10" fmla="*/ 2806700 h 5257800"/>
                <a:gd name="connsiteX11" fmla="*/ 1524000 w 5359400"/>
                <a:gd name="connsiteY11" fmla="*/ 2908300 h 5257800"/>
                <a:gd name="connsiteX12" fmla="*/ 1562100 w 5359400"/>
                <a:gd name="connsiteY12" fmla="*/ 2819400 h 5257800"/>
                <a:gd name="connsiteX13" fmla="*/ 596900 w 5359400"/>
                <a:gd name="connsiteY13" fmla="*/ 1016000 h 5257800"/>
                <a:gd name="connsiteX14" fmla="*/ 736600 w 5359400"/>
                <a:gd name="connsiteY14" fmla="*/ 647700 h 5257800"/>
                <a:gd name="connsiteX15" fmla="*/ 1270000 w 5359400"/>
                <a:gd name="connsiteY15" fmla="*/ 800100 h 5257800"/>
                <a:gd name="connsiteX16" fmla="*/ 2006600 w 5359400"/>
                <a:gd name="connsiteY16" fmla="*/ 2273300 h 5257800"/>
                <a:gd name="connsiteX17" fmla="*/ 2171700 w 5359400"/>
                <a:gd name="connsiteY17" fmla="*/ 2349500 h 5257800"/>
                <a:gd name="connsiteX18" fmla="*/ 2235200 w 5359400"/>
                <a:gd name="connsiteY18" fmla="*/ 2133600 h 5257800"/>
                <a:gd name="connsiteX19" fmla="*/ 1549400 w 5359400"/>
                <a:gd name="connsiteY19" fmla="*/ 381000 h 5257800"/>
                <a:gd name="connsiteX20" fmla="*/ 1689100 w 5359400"/>
                <a:gd name="connsiteY20" fmla="*/ 114300 h 5257800"/>
                <a:gd name="connsiteX21" fmla="*/ 2133600 w 5359400"/>
                <a:gd name="connsiteY21" fmla="*/ 177800 h 5257800"/>
                <a:gd name="connsiteX22" fmla="*/ 2819400 w 5359400"/>
                <a:gd name="connsiteY22" fmla="*/ 1905000 h 5257800"/>
                <a:gd name="connsiteX23" fmla="*/ 3073400 w 5359400"/>
                <a:gd name="connsiteY23" fmla="*/ 2108200 h 5257800"/>
                <a:gd name="connsiteX24" fmla="*/ 2870200 w 5359400"/>
                <a:gd name="connsiteY24" fmla="*/ 342900 h 5257800"/>
                <a:gd name="connsiteX25" fmla="*/ 3162300 w 5359400"/>
                <a:gd name="connsiteY25" fmla="*/ 0 h 5257800"/>
                <a:gd name="connsiteX26" fmla="*/ 3556000 w 5359400"/>
                <a:gd name="connsiteY26" fmla="*/ 215900 h 5257800"/>
                <a:gd name="connsiteX27" fmla="*/ 3810000 w 5359400"/>
                <a:gd name="connsiteY27" fmla="*/ 2413000 h 5257800"/>
                <a:gd name="connsiteX28" fmla="*/ 3937000 w 5359400"/>
                <a:gd name="connsiteY28" fmla="*/ 2603500 h 5257800"/>
                <a:gd name="connsiteX29" fmla="*/ 4318000 w 5359400"/>
                <a:gd name="connsiteY29" fmla="*/ 1816100 h 5257800"/>
                <a:gd name="connsiteX30" fmla="*/ 4737100 w 5359400"/>
                <a:gd name="connsiteY30" fmla="*/ 1333500 h 5257800"/>
                <a:gd name="connsiteX31" fmla="*/ 5181600 w 5359400"/>
                <a:gd name="connsiteY31" fmla="*/ 1371600 h 5257800"/>
                <a:gd name="connsiteX32" fmla="*/ 5359400 w 5359400"/>
                <a:gd name="connsiteY32" fmla="*/ 1536700 h 5257800"/>
                <a:gd name="connsiteX33" fmla="*/ 4927600 w 5359400"/>
                <a:gd name="connsiteY33" fmla="*/ 2019300 h 5257800"/>
                <a:gd name="connsiteX34" fmla="*/ 4279900 w 5359400"/>
                <a:gd name="connsiteY34" fmla="*/ 4318000 h 5257800"/>
                <a:gd name="connsiteX35" fmla="*/ 3898900 w 5359400"/>
                <a:gd name="connsiteY35" fmla="*/ 4864100 h 5257800"/>
                <a:gd name="connsiteX36" fmla="*/ 3276600 w 5359400"/>
                <a:gd name="connsiteY36" fmla="*/ 5168900 h 5257800"/>
                <a:gd name="connsiteX37" fmla="*/ 2921000 w 5359400"/>
                <a:gd name="connsiteY37" fmla="*/ 5257800 h 5257800"/>
                <a:gd name="connsiteX0" fmla="*/ 2921000 w 5359400"/>
                <a:gd name="connsiteY0" fmla="*/ 5257800 h 5257800"/>
                <a:gd name="connsiteX1" fmla="*/ 2921000 w 5359400"/>
                <a:gd name="connsiteY1" fmla="*/ 5257800 h 5257800"/>
                <a:gd name="connsiteX2" fmla="*/ 2268220 w 5359400"/>
                <a:gd name="connsiteY2" fmla="*/ 5143500 h 5257800"/>
                <a:gd name="connsiteX3" fmla="*/ 1676400 w 5359400"/>
                <a:gd name="connsiteY3" fmla="*/ 4635500 h 5257800"/>
                <a:gd name="connsiteX4" fmla="*/ 1242060 w 5359400"/>
                <a:gd name="connsiteY4" fmla="*/ 3690620 h 5257800"/>
                <a:gd name="connsiteX5" fmla="*/ 96520 w 5359400"/>
                <a:gd name="connsiteY5" fmla="*/ 2090420 h 5257800"/>
                <a:gd name="connsiteX6" fmla="*/ 0 w 5359400"/>
                <a:gd name="connsiteY6" fmla="*/ 1765300 h 5257800"/>
                <a:gd name="connsiteX7" fmla="*/ 165100 w 5359400"/>
                <a:gd name="connsiteY7" fmla="*/ 1587500 h 5257800"/>
                <a:gd name="connsiteX8" fmla="*/ 342900 w 5359400"/>
                <a:gd name="connsiteY8" fmla="*/ 1549400 h 5257800"/>
                <a:gd name="connsiteX9" fmla="*/ 673100 w 5359400"/>
                <a:gd name="connsiteY9" fmla="*/ 1803400 h 5257800"/>
                <a:gd name="connsiteX10" fmla="*/ 1320800 w 5359400"/>
                <a:gd name="connsiteY10" fmla="*/ 2806700 h 5257800"/>
                <a:gd name="connsiteX11" fmla="*/ 1524000 w 5359400"/>
                <a:gd name="connsiteY11" fmla="*/ 2908300 h 5257800"/>
                <a:gd name="connsiteX12" fmla="*/ 1562100 w 5359400"/>
                <a:gd name="connsiteY12" fmla="*/ 2819400 h 5257800"/>
                <a:gd name="connsiteX13" fmla="*/ 596900 w 5359400"/>
                <a:gd name="connsiteY13" fmla="*/ 1016000 h 5257800"/>
                <a:gd name="connsiteX14" fmla="*/ 736600 w 5359400"/>
                <a:gd name="connsiteY14" fmla="*/ 647700 h 5257800"/>
                <a:gd name="connsiteX15" fmla="*/ 1270000 w 5359400"/>
                <a:gd name="connsiteY15" fmla="*/ 800100 h 5257800"/>
                <a:gd name="connsiteX16" fmla="*/ 2006600 w 5359400"/>
                <a:gd name="connsiteY16" fmla="*/ 2273300 h 5257800"/>
                <a:gd name="connsiteX17" fmla="*/ 2171700 w 5359400"/>
                <a:gd name="connsiteY17" fmla="*/ 2349500 h 5257800"/>
                <a:gd name="connsiteX18" fmla="*/ 2235200 w 5359400"/>
                <a:gd name="connsiteY18" fmla="*/ 2133600 h 5257800"/>
                <a:gd name="connsiteX19" fmla="*/ 1549400 w 5359400"/>
                <a:gd name="connsiteY19" fmla="*/ 381000 h 5257800"/>
                <a:gd name="connsiteX20" fmla="*/ 1689100 w 5359400"/>
                <a:gd name="connsiteY20" fmla="*/ 114300 h 5257800"/>
                <a:gd name="connsiteX21" fmla="*/ 2133600 w 5359400"/>
                <a:gd name="connsiteY21" fmla="*/ 177800 h 5257800"/>
                <a:gd name="connsiteX22" fmla="*/ 2819400 w 5359400"/>
                <a:gd name="connsiteY22" fmla="*/ 1905000 h 5257800"/>
                <a:gd name="connsiteX23" fmla="*/ 3073400 w 5359400"/>
                <a:gd name="connsiteY23" fmla="*/ 2108200 h 5257800"/>
                <a:gd name="connsiteX24" fmla="*/ 2870200 w 5359400"/>
                <a:gd name="connsiteY24" fmla="*/ 342900 h 5257800"/>
                <a:gd name="connsiteX25" fmla="*/ 3162300 w 5359400"/>
                <a:gd name="connsiteY25" fmla="*/ 0 h 5257800"/>
                <a:gd name="connsiteX26" fmla="*/ 3556000 w 5359400"/>
                <a:gd name="connsiteY26" fmla="*/ 215900 h 5257800"/>
                <a:gd name="connsiteX27" fmla="*/ 3810000 w 5359400"/>
                <a:gd name="connsiteY27" fmla="*/ 2413000 h 5257800"/>
                <a:gd name="connsiteX28" fmla="*/ 3937000 w 5359400"/>
                <a:gd name="connsiteY28" fmla="*/ 2603500 h 5257800"/>
                <a:gd name="connsiteX29" fmla="*/ 4318000 w 5359400"/>
                <a:gd name="connsiteY29" fmla="*/ 1816100 h 5257800"/>
                <a:gd name="connsiteX30" fmla="*/ 4737100 w 5359400"/>
                <a:gd name="connsiteY30" fmla="*/ 1333500 h 5257800"/>
                <a:gd name="connsiteX31" fmla="*/ 5181600 w 5359400"/>
                <a:gd name="connsiteY31" fmla="*/ 1371600 h 5257800"/>
                <a:gd name="connsiteX32" fmla="*/ 5359400 w 5359400"/>
                <a:gd name="connsiteY32" fmla="*/ 1536700 h 5257800"/>
                <a:gd name="connsiteX33" fmla="*/ 4927600 w 5359400"/>
                <a:gd name="connsiteY33" fmla="*/ 2019300 h 5257800"/>
                <a:gd name="connsiteX34" fmla="*/ 4279900 w 5359400"/>
                <a:gd name="connsiteY34" fmla="*/ 4318000 h 5257800"/>
                <a:gd name="connsiteX35" fmla="*/ 3898900 w 5359400"/>
                <a:gd name="connsiteY35" fmla="*/ 4864100 h 5257800"/>
                <a:gd name="connsiteX36" fmla="*/ 3276600 w 5359400"/>
                <a:gd name="connsiteY36" fmla="*/ 5168900 h 5257800"/>
                <a:gd name="connsiteX37" fmla="*/ 2921000 w 5359400"/>
                <a:gd name="connsiteY37" fmla="*/ 5257800 h 5257800"/>
                <a:gd name="connsiteX0" fmla="*/ 2921000 w 5359400"/>
                <a:gd name="connsiteY0" fmla="*/ 5257800 h 5257800"/>
                <a:gd name="connsiteX1" fmla="*/ 2921000 w 5359400"/>
                <a:gd name="connsiteY1" fmla="*/ 5257800 h 5257800"/>
                <a:gd name="connsiteX2" fmla="*/ 2268220 w 5359400"/>
                <a:gd name="connsiteY2" fmla="*/ 5143500 h 5257800"/>
                <a:gd name="connsiteX3" fmla="*/ 1676400 w 5359400"/>
                <a:gd name="connsiteY3" fmla="*/ 4635500 h 5257800"/>
                <a:gd name="connsiteX4" fmla="*/ 1242060 w 5359400"/>
                <a:gd name="connsiteY4" fmla="*/ 3690620 h 5257800"/>
                <a:gd name="connsiteX5" fmla="*/ 96520 w 5359400"/>
                <a:gd name="connsiteY5" fmla="*/ 2090420 h 5257800"/>
                <a:gd name="connsiteX6" fmla="*/ 0 w 5359400"/>
                <a:gd name="connsiteY6" fmla="*/ 1765300 h 5257800"/>
                <a:gd name="connsiteX7" fmla="*/ 165100 w 5359400"/>
                <a:gd name="connsiteY7" fmla="*/ 1587500 h 5257800"/>
                <a:gd name="connsiteX8" fmla="*/ 342900 w 5359400"/>
                <a:gd name="connsiteY8" fmla="*/ 1549400 h 5257800"/>
                <a:gd name="connsiteX9" fmla="*/ 673100 w 5359400"/>
                <a:gd name="connsiteY9" fmla="*/ 1803400 h 5257800"/>
                <a:gd name="connsiteX10" fmla="*/ 1320800 w 5359400"/>
                <a:gd name="connsiteY10" fmla="*/ 2806700 h 5257800"/>
                <a:gd name="connsiteX11" fmla="*/ 1524000 w 5359400"/>
                <a:gd name="connsiteY11" fmla="*/ 2908300 h 5257800"/>
                <a:gd name="connsiteX12" fmla="*/ 1562100 w 5359400"/>
                <a:gd name="connsiteY12" fmla="*/ 2819400 h 5257800"/>
                <a:gd name="connsiteX13" fmla="*/ 596900 w 5359400"/>
                <a:gd name="connsiteY13" fmla="*/ 1016000 h 5257800"/>
                <a:gd name="connsiteX14" fmla="*/ 736600 w 5359400"/>
                <a:gd name="connsiteY14" fmla="*/ 647700 h 5257800"/>
                <a:gd name="connsiteX15" fmla="*/ 1270000 w 5359400"/>
                <a:gd name="connsiteY15" fmla="*/ 800100 h 5257800"/>
                <a:gd name="connsiteX16" fmla="*/ 2006600 w 5359400"/>
                <a:gd name="connsiteY16" fmla="*/ 2273300 h 5257800"/>
                <a:gd name="connsiteX17" fmla="*/ 2171700 w 5359400"/>
                <a:gd name="connsiteY17" fmla="*/ 2349500 h 5257800"/>
                <a:gd name="connsiteX18" fmla="*/ 2235200 w 5359400"/>
                <a:gd name="connsiteY18" fmla="*/ 2133600 h 5257800"/>
                <a:gd name="connsiteX19" fmla="*/ 1549400 w 5359400"/>
                <a:gd name="connsiteY19" fmla="*/ 381000 h 5257800"/>
                <a:gd name="connsiteX20" fmla="*/ 1689100 w 5359400"/>
                <a:gd name="connsiteY20" fmla="*/ 114300 h 5257800"/>
                <a:gd name="connsiteX21" fmla="*/ 2133600 w 5359400"/>
                <a:gd name="connsiteY21" fmla="*/ 177800 h 5257800"/>
                <a:gd name="connsiteX22" fmla="*/ 2819400 w 5359400"/>
                <a:gd name="connsiteY22" fmla="*/ 1905000 h 5257800"/>
                <a:gd name="connsiteX23" fmla="*/ 3073400 w 5359400"/>
                <a:gd name="connsiteY23" fmla="*/ 2108200 h 5257800"/>
                <a:gd name="connsiteX24" fmla="*/ 2870200 w 5359400"/>
                <a:gd name="connsiteY24" fmla="*/ 342900 h 5257800"/>
                <a:gd name="connsiteX25" fmla="*/ 3162300 w 5359400"/>
                <a:gd name="connsiteY25" fmla="*/ 0 h 5257800"/>
                <a:gd name="connsiteX26" fmla="*/ 3556000 w 5359400"/>
                <a:gd name="connsiteY26" fmla="*/ 215900 h 5257800"/>
                <a:gd name="connsiteX27" fmla="*/ 3810000 w 5359400"/>
                <a:gd name="connsiteY27" fmla="*/ 2413000 h 5257800"/>
                <a:gd name="connsiteX28" fmla="*/ 3937000 w 5359400"/>
                <a:gd name="connsiteY28" fmla="*/ 2603500 h 5257800"/>
                <a:gd name="connsiteX29" fmla="*/ 4318000 w 5359400"/>
                <a:gd name="connsiteY29" fmla="*/ 1816100 h 5257800"/>
                <a:gd name="connsiteX30" fmla="*/ 4737100 w 5359400"/>
                <a:gd name="connsiteY30" fmla="*/ 1333500 h 5257800"/>
                <a:gd name="connsiteX31" fmla="*/ 5181600 w 5359400"/>
                <a:gd name="connsiteY31" fmla="*/ 1371600 h 5257800"/>
                <a:gd name="connsiteX32" fmla="*/ 5359400 w 5359400"/>
                <a:gd name="connsiteY32" fmla="*/ 1536700 h 5257800"/>
                <a:gd name="connsiteX33" fmla="*/ 4927600 w 5359400"/>
                <a:gd name="connsiteY33" fmla="*/ 2019300 h 5257800"/>
                <a:gd name="connsiteX34" fmla="*/ 4279900 w 5359400"/>
                <a:gd name="connsiteY34" fmla="*/ 4318000 h 5257800"/>
                <a:gd name="connsiteX35" fmla="*/ 3898900 w 5359400"/>
                <a:gd name="connsiteY35" fmla="*/ 4864100 h 5257800"/>
                <a:gd name="connsiteX36" fmla="*/ 3276600 w 5359400"/>
                <a:gd name="connsiteY36" fmla="*/ 5168900 h 5257800"/>
                <a:gd name="connsiteX37" fmla="*/ 2921000 w 5359400"/>
                <a:gd name="connsiteY37" fmla="*/ 5257800 h 5257800"/>
                <a:gd name="connsiteX0" fmla="*/ 2921000 w 5359400"/>
                <a:gd name="connsiteY0" fmla="*/ 5257800 h 5257800"/>
                <a:gd name="connsiteX1" fmla="*/ 2921000 w 5359400"/>
                <a:gd name="connsiteY1" fmla="*/ 5257800 h 5257800"/>
                <a:gd name="connsiteX2" fmla="*/ 2268220 w 5359400"/>
                <a:gd name="connsiteY2" fmla="*/ 5143500 h 5257800"/>
                <a:gd name="connsiteX3" fmla="*/ 1676400 w 5359400"/>
                <a:gd name="connsiteY3" fmla="*/ 4635500 h 5257800"/>
                <a:gd name="connsiteX4" fmla="*/ 1242060 w 5359400"/>
                <a:gd name="connsiteY4" fmla="*/ 3690620 h 5257800"/>
                <a:gd name="connsiteX5" fmla="*/ 96520 w 5359400"/>
                <a:gd name="connsiteY5" fmla="*/ 2090420 h 5257800"/>
                <a:gd name="connsiteX6" fmla="*/ 0 w 5359400"/>
                <a:gd name="connsiteY6" fmla="*/ 1765300 h 5257800"/>
                <a:gd name="connsiteX7" fmla="*/ 165100 w 5359400"/>
                <a:gd name="connsiteY7" fmla="*/ 1587500 h 5257800"/>
                <a:gd name="connsiteX8" fmla="*/ 342900 w 5359400"/>
                <a:gd name="connsiteY8" fmla="*/ 1549400 h 5257800"/>
                <a:gd name="connsiteX9" fmla="*/ 673100 w 5359400"/>
                <a:gd name="connsiteY9" fmla="*/ 1803400 h 5257800"/>
                <a:gd name="connsiteX10" fmla="*/ 1320800 w 5359400"/>
                <a:gd name="connsiteY10" fmla="*/ 2806700 h 5257800"/>
                <a:gd name="connsiteX11" fmla="*/ 1524000 w 5359400"/>
                <a:gd name="connsiteY11" fmla="*/ 2908300 h 5257800"/>
                <a:gd name="connsiteX12" fmla="*/ 1562100 w 5359400"/>
                <a:gd name="connsiteY12" fmla="*/ 2819400 h 5257800"/>
                <a:gd name="connsiteX13" fmla="*/ 596900 w 5359400"/>
                <a:gd name="connsiteY13" fmla="*/ 1016000 h 5257800"/>
                <a:gd name="connsiteX14" fmla="*/ 1270000 w 5359400"/>
                <a:gd name="connsiteY14" fmla="*/ 800100 h 5257800"/>
                <a:gd name="connsiteX15" fmla="*/ 2006600 w 5359400"/>
                <a:gd name="connsiteY15" fmla="*/ 2273300 h 5257800"/>
                <a:gd name="connsiteX16" fmla="*/ 2171700 w 5359400"/>
                <a:gd name="connsiteY16" fmla="*/ 2349500 h 5257800"/>
                <a:gd name="connsiteX17" fmla="*/ 2235200 w 5359400"/>
                <a:gd name="connsiteY17" fmla="*/ 2133600 h 5257800"/>
                <a:gd name="connsiteX18" fmla="*/ 1549400 w 5359400"/>
                <a:gd name="connsiteY18" fmla="*/ 381000 h 5257800"/>
                <a:gd name="connsiteX19" fmla="*/ 1689100 w 5359400"/>
                <a:gd name="connsiteY19" fmla="*/ 114300 h 5257800"/>
                <a:gd name="connsiteX20" fmla="*/ 2133600 w 5359400"/>
                <a:gd name="connsiteY20" fmla="*/ 177800 h 5257800"/>
                <a:gd name="connsiteX21" fmla="*/ 2819400 w 5359400"/>
                <a:gd name="connsiteY21" fmla="*/ 1905000 h 5257800"/>
                <a:gd name="connsiteX22" fmla="*/ 3073400 w 5359400"/>
                <a:gd name="connsiteY22" fmla="*/ 2108200 h 5257800"/>
                <a:gd name="connsiteX23" fmla="*/ 2870200 w 5359400"/>
                <a:gd name="connsiteY23" fmla="*/ 342900 h 5257800"/>
                <a:gd name="connsiteX24" fmla="*/ 3162300 w 5359400"/>
                <a:gd name="connsiteY24" fmla="*/ 0 h 5257800"/>
                <a:gd name="connsiteX25" fmla="*/ 3556000 w 5359400"/>
                <a:gd name="connsiteY25" fmla="*/ 215900 h 5257800"/>
                <a:gd name="connsiteX26" fmla="*/ 3810000 w 5359400"/>
                <a:gd name="connsiteY26" fmla="*/ 2413000 h 5257800"/>
                <a:gd name="connsiteX27" fmla="*/ 3937000 w 5359400"/>
                <a:gd name="connsiteY27" fmla="*/ 2603500 h 5257800"/>
                <a:gd name="connsiteX28" fmla="*/ 4318000 w 5359400"/>
                <a:gd name="connsiteY28" fmla="*/ 1816100 h 5257800"/>
                <a:gd name="connsiteX29" fmla="*/ 4737100 w 5359400"/>
                <a:gd name="connsiteY29" fmla="*/ 1333500 h 5257800"/>
                <a:gd name="connsiteX30" fmla="*/ 5181600 w 5359400"/>
                <a:gd name="connsiteY30" fmla="*/ 1371600 h 5257800"/>
                <a:gd name="connsiteX31" fmla="*/ 5359400 w 5359400"/>
                <a:gd name="connsiteY31" fmla="*/ 1536700 h 5257800"/>
                <a:gd name="connsiteX32" fmla="*/ 4927600 w 5359400"/>
                <a:gd name="connsiteY32" fmla="*/ 2019300 h 5257800"/>
                <a:gd name="connsiteX33" fmla="*/ 4279900 w 5359400"/>
                <a:gd name="connsiteY33" fmla="*/ 4318000 h 5257800"/>
                <a:gd name="connsiteX34" fmla="*/ 3898900 w 5359400"/>
                <a:gd name="connsiteY34" fmla="*/ 4864100 h 5257800"/>
                <a:gd name="connsiteX35" fmla="*/ 3276600 w 5359400"/>
                <a:gd name="connsiteY35" fmla="*/ 5168900 h 5257800"/>
                <a:gd name="connsiteX36" fmla="*/ 2921000 w 5359400"/>
                <a:gd name="connsiteY36" fmla="*/ 5257800 h 5257800"/>
                <a:gd name="connsiteX0" fmla="*/ 2921000 w 5359400"/>
                <a:gd name="connsiteY0" fmla="*/ 5257800 h 5257800"/>
                <a:gd name="connsiteX1" fmla="*/ 2921000 w 5359400"/>
                <a:gd name="connsiteY1" fmla="*/ 5257800 h 5257800"/>
                <a:gd name="connsiteX2" fmla="*/ 2268220 w 5359400"/>
                <a:gd name="connsiteY2" fmla="*/ 5143500 h 5257800"/>
                <a:gd name="connsiteX3" fmla="*/ 1676400 w 5359400"/>
                <a:gd name="connsiteY3" fmla="*/ 4635500 h 5257800"/>
                <a:gd name="connsiteX4" fmla="*/ 1242060 w 5359400"/>
                <a:gd name="connsiteY4" fmla="*/ 3690620 h 5257800"/>
                <a:gd name="connsiteX5" fmla="*/ 96520 w 5359400"/>
                <a:gd name="connsiteY5" fmla="*/ 2090420 h 5257800"/>
                <a:gd name="connsiteX6" fmla="*/ 0 w 5359400"/>
                <a:gd name="connsiteY6" fmla="*/ 1765300 h 5257800"/>
                <a:gd name="connsiteX7" fmla="*/ 165100 w 5359400"/>
                <a:gd name="connsiteY7" fmla="*/ 1587500 h 5257800"/>
                <a:gd name="connsiteX8" fmla="*/ 342900 w 5359400"/>
                <a:gd name="connsiteY8" fmla="*/ 1549400 h 5257800"/>
                <a:gd name="connsiteX9" fmla="*/ 673100 w 5359400"/>
                <a:gd name="connsiteY9" fmla="*/ 1803400 h 5257800"/>
                <a:gd name="connsiteX10" fmla="*/ 1320800 w 5359400"/>
                <a:gd name="connsiteY10" fmla="*/ 2806700 h 5257800"/>
                <a:gd name="connsiteX11" fmla="*/ 1524000 w 5359400"/>
                <a:gd name="connsiteY11" fmla="*/ 2908300 h 5257800"/>
                <a:gd name="connsiteX12" fmla="*/ 1562100 w 5359400"/>
                <a:gd name="connsiteY12" fmla="*/ 2819400 h 5257800"/>
                <a:gd name="connsiteX13" fmla="*/ 596900 w 5359400"/>
                <a:gd name="connsiteY13" fmla="*/ 1016000 h 5257800"/>
                <a:gd name="connsiteX14" fmla="*/ 1270000 w 5359400"/>
                <a:gd name="connsiteY14" fmla="*/ 800100 h 5257800"/>
                <a:gd name="connsiteX15" fmla="*/ 2006600 w 5359400"/>
                <a:gd name="connsiteY15" fmla="*/ 2273300 h 5257800"/>
                <a:gd name="connsiteX16" fmla="*/ 2171700 w 5359400"/>
                <a:gd name="connsiteY16" fmla="*/ 2349500 h 5257800"/>
                <a:gd name="connsiteX17" fmla="*/ 2235200 w 5359400"/>
                <a:gd name="connsiteY17" fmla="*/ 2133600 h 5257800"/>
                <a:gd name="connsiteX18" fmla="*/ 1549400 w 5359400"/>
                <a:gd name="connsiteY18" fmla="*/ 381000 h 5257800"/>
                <a:gd name="connsiteX19" fmla="*/ 1689100 w 5359400"/>
                <a:gd name="connsiteY19" fmla="*/ 114300 h 5257800"/>
                <a:gd name="connsiteX20" fmla="*/ 2133600 w 5359400"/>
                <a:gd name="connsiteY20" fmla="*/ 177800 h 5257800"/>
                <a:gd name="connsiteX21" fmla="*/ 2819400 w 5359400"/>
                <a:gd name="connsiteY21" fmla="*/ 1905000 h 5257800"/>
                <a:gd name="connsiteX22" fmla="*/ 3073400 w 5359400"/>
                <a:gd name="connsiteY22" fmla="*/ 2108200 h 5257800"/>
                <a:gd name="connsiteX23" fmla="*/ 2870200 w 5359400"/>
                <a:gd name="connsiteY23" fmla="*/ 342900 h 5257800"/>
                <a:gd name="connsiteX24" fmla="*/ 3162300 w 5359400"/>
                <a:gd name="connsiteY24" fmla="*/ 0 h 5257800"/>
                <a:gd name="connsiteX25" fmla="*/ 3556000 w 5359400"/>
                <a:gd name="connsiteY25" fmla="*/ 215900 h 5257800"/>
                <a:gd name="connsiteX26" fmla="*/ 3810000 w 5359400"/>
                <a:gd name="connsiteY26" fmla="*/ 2413000 h 5257800"/>
                <a:gd name="connsiteX27" fmla="*/ 3937000 w 5359400"/>
                <a:gd name="connsiteY27" fmla="*/ 2603500 h 5257800"/>
                <a:gd name="connsiteX28" fmla="*/ 4318000 w 5359400"/>
                <a:gd name="connsiteY28" fmla="*/ 1816100 h 5257800"/>
                <a:gd name="connsiteX29" fmla="*/ 4737100 w 5359400"/>
                <a:gd name="connsiteY29" fmla="*/ 1333500 h 5257800"/>
                <a:gd name="connsiteX30" fmla="*/ 5181600 w 5359400"/>
                <a:gd name="connsiteY30" fmla="*/ 1371600 h 5257800"/>
                <a:gd name="connsiteX31" fmla="*/ 5359400 w 5359400"/>
                <a:gd name="connsiteY31" fmla="*/ 1536700 h 5257800"/>
                <a:gd name="connsiteX32" fmla="*/ 4927600 w 5359400"/>
                <a:gd name="connsiteY32" fmla="*/ 2019300 h 5257800"/>
                <a:gd name="connsiteX33" fmla="*/ 4279900 w 5359400"/>
                <a:gd name="connsiteY33" fmla="*/ 4318000 h 5257800"/>
                <a:gd name="connsiteX34" fmla="*/ 3898900 w 5359400"/>
                <a:gd name="connsiteY34" fmla="*/ 4864100 h 5257800"/>
                <a:gd name="connsiteX35" fmla="*/ 3276600 w 5359400"/>
                <a:gd name="connsiteY35" fmla="*/ 5168900 h 5257800"/>
                <a:gd name="connsiteX36" fmla="*/ 2921000 w 5359400"/>
                <a:gd name="connsiteY36" fmla="*/ 5257800 h 5257800"/>
                <a:gd name="connsiteX0" fmla="*/ 2921000 w 5359400"/>
                <a:gd name="connsiteY0" fmla="*/ 5257800 h 5257800"/>
                <a:gd name="connsiteX1" fmla="*/ 2921000 w 5359400"/>
                <a:gd name="connsiteY1" fmla="*/ 5257800 h 5257800"/>
                <a:gd name="connsiteX2" fmla="*/ 2268220 w 5359400"/>
                <a:gd name="connsiteY2" fmla="*/ 5143500 h 5257800"/>
                <a:gd name="connsiteX3" fmla="*/ 1676400 w 5359400"/>
                <a:gd name="connsiteY3" fmla="*/ 4635500 h 5257800"/>
                <a:gd name="connsiteX4" fmla="*/ 1242060 w 5359400"/>
                <a:gd name="connsiteY4" fmla="*/ 3690620 h 5257800"/>
                <a:gd name="connsiteX5" fmla="*/ 96520 w 5359400"/>
                <a:gd name="connsiteY5" fmla="*/ 2090420 h 5257800"/>
                <a:gd name="connsiteX6" fmla="*/ 0 w 5359400"/>
                <a:gd name="connsiteY6" fmla="*/ 1765300 h 5257800"/>
                <a:gd name="connsiteX7" fmla="*/ 165100 w 5359400"/>
                <a:gd name="connsiteY7" fmla="*/ 1587500 h 5257800"/>
                <a:gd name="connsiteX8" fmla="*/ 342900 w 5359400"/>
                <a:gd name="connsiteY8" fmla="*/ 1549400 h 5257800"/>
                <a:gd name="connsiteX9" fmla="*/ 673100 w 5359400"/>
                <a:gd name="connsiteY9" fmla="*/ 1803400 h 5257800"/>
                <a:gd name="connsiteX10" fmla="*/ 1320800 w 5359400"/>
                <a:gd name="connsiteY10" fmla="*/ 2806700 h 5257800"/>
                <a:gd name="connsiteX11" fmla="*/ 1524000 w 5359400"/>
                <a:gd name="connsiteY11" fmla="*/ 2908300 h 5257800"/>
                <a:gd name="connsiteX12" fmla="*/ 1562100 w 5359400"/>
                <a:gd name="connsiteY12" fmla="*/ 2819400 h 5257800"/>
                <a:gd name="connsiteX13" fmla="*/ 596900 w 5359400"/>
                <a:gd name="connsiteY13" fmla="*/ 1016000 h 5257800"/>
                <a:gd name="connsiteX14" fmla="*/ 1270000 w 5359400"/>
                <a:gd name="connsiteY14" fmla="*/ 800100 h 5257800"/>
                <a:gd name="connsiteX15" fmla="*/ 2006600 w 5359400"/>
                <a:gd name="connsiteY15" fmla="*/ 2273300 h 5257800"/>
                <a:gd name="connsiteX16" fmla="*/ 2171700 w 5359400"/>
                <a:gd name="connsiteY16" fmla="*/ 2349500 h 5257800"/>
                <a:gd name="connsiteX17" fmla="*/ 2235200 w 5359400"/>
                <a:gd name="connsiteY17" fmla="*/ 2133600 h 5257800"/>
                <a:gd name="connsiteX18" fmla="*/ 1549400 w 5359400"/>
                <a:gd name="connsiteY18" fmla="*/ 381000 h 5257800"/>
                <a:gd name="connsiteX19" fmla="*/ 1689100 w 5359400"/>
                <a:gd name="connsiteY19" fmla="*/ 114300 h 5257800"/>
                <a:gd name="connsiteX20" fmla="*/ 2133600 w 5359400"/>
                <a:gd name="connsiteY20" fmla="*/ 177800 h 5257800"/>
                <a:gd name="connsiteX21" fmla="*/ 2819400 w 5359400"/>
                <a:gd name="connsiteY21" fmla="*/ 1905000 h 5257800"/>
                <a:gd name="connsiteX22" fmla="*/ 3073400 w 5359400"/>
                <a:gd name="connsiteY22" fmla="*/ 2108200 h 5257800"/>
                <a:gd name="connsiteX23" fmla="*/ 2870200 w 5359400"/>
                <a:gd name="connsiteY23" fmla="*/ 342900 h 5257800"/>
                <a:gd name="connsiteX24" fmla="*/ 3162300 w 5359400"/>
                <a:gd name="connsiteY24" fmla="*/ 0 h 5257800"/>
                <a:gd name="connsiteX25" fmla="*/ 3556000 w 5359400"/>
                <a:gd name="connsiteY25" fmla="*/ 215900 h 5257800"/>
                <a:gd name="connsiteX26" fmla="*/ 3810000 w 5359400"/>
                <a:gd name="connsiteY26" fmla="*/ 2413000 h 5257800"/>
                <a:gd name="connsiteX27" fmla="*/ 3937000 w 5359400"/>
                <a:gd name="connsiteY27" fmla="*/ 2603500 h 5257800"/>
                <a:gd name="connsiteX28" fmla="*/ 4318000 w 5359400"/>
                <a:gd name="connsiteY28" fmla="*/ 1816100 h 5257800"/>
                <a:gd name="connsiteX29" fmla="*/ 4737100 w 5359400"/>
                <a:gd name="connsiteY29" fmla="*/ 1333500 h 5257800"/>
                <a:gd name="connsiteX30" fmla="*/ 5181600 w 5359400"/>
                <a:gd name="connsiteY30" fmla="*/ 1371600 h 5257800"/>
                <a:gd name="connsiteX31" fmla="*/ 5359400 w 5359400"/>
                <a:gd name="connsiteY31" fmla="*/ 1536700 h 5257800"/>
                <a:gd name="connsiteX32" fmla="*/ 4927600 w 5359400"/>
                <a:gd name="connsiteY32" fmla="*/ 2019300 h 5257800"/>
                <a:gd name="connsiteX33" fmla="*/ 4279900 w 5359400"/>
                <a:gd name="connsiteY33" fmla="*/ 4318000 h 5257800"/>
                <a:gd name="connsiteX34" fmla="*/ 3898900 w 5359400"/>
                <a:gd name="connsiteY34" fmla="*/ 4864100 h 5257800"/>
                <a:gd name="connsiteX35" fmla="*/ 3276600 w 5359400"/>
                <a:gd name="connsiteY35" fmla="*/ 5168900 h 5257800"/>
                <a:gd name="connsiteX36" fmla="*/ 2921000 w 5359400"/>
                <a:gd name="connsiteY36" fmla="*/ 5257800 h 5257800"/>
                <a:gd name="connsiteX0" fmla="*/ 2921000 w 5359400"/>
                <a:gd name="connsiteY0" fmla="*/ 5257800 h 5257800"/>
                <a:gd name="connsiteX1" fmla="*/ 2921000 w 5359400"/>
                <a:gd name="connsiteY1" fmla="*/ 5257800 h 5257800"/>
                <a:gd name="connsiteX2" fmla="*/ 2268220 w 5359400"/>
                <a:gd name="connsiteY2" fmla="*/ 5143500 h 5257800"/>
                <a:gd name="connsiteX3" fmla="*/ 1676400 w 5359400"/>
                <a:gd name="connsiteY3" fmla="*/ 4635500 h 5257800"/>
                <a:gd name="connsiteX4" fmla="*/ 1242060 w 5359400"/>
                <a:gd name="connsiteY4" fmla="*/ 3690620 h 5257800"/>
                <a:gd name="connsiteX5" fmla="*/ 96520 w 5359400"/>
                <a:gd name="connsiteY5" fmla="*/ 2090420 h 5257800"/>
                <a:gd name="connsiteX6" fmla="*/ 0 w 5359400"/>
                <a:gd name="connsiteY6" fmla="*/ 1765300 h 5257800"/>
                <a:gd name="connsiteX7" fmla="*/ 165100 w 5359400"/>
                <a:gd name="connsiteY7" fmla="*/ 1587500 h 5257800"/>
                <a:gd name="connsiteX8" fmla="*/ 342900 w 5359400"/>
                <a:gd name="connsiteY8" fmla="*/ 1549400 h 5257800"/>
                <a:gd name="connsiteX9" fmla="*/ 673100 w 5359400"/>
                <a:gd name="connsiteY9" fmla="*/ 1803400 h 5257800"/>
                <a:gd name="connsiteX10" fmla="*/ 1320800 w 5359400"/>
                <a:gd name="connsiteY10" fmla="*/ 2806700 h 5257800"/>
                <a:gd name="connsiteX11" fmla="*/ 1524000 w 5359400"/>
                <a:gd name="connsiteY11" fmla="*/ 2908300 h 5257800"/>
                <a:gd name="connsiteX12" fmla="*/ 1562100 w 5359400"/>
                <a:gd name="connsiteY12" fmla="*/ 2819400 h 5257800"/>
                <a:gd name="connsiteX13" fmla="*/ 596900 w 5359400"/>
                <a:gd name="connsiteY13" fmla="*/ 1016000 h 5257800"/>
                <a:gd name="connsiteX14" fmla="*/ 1270000 w 5359400"/>
                <a:gd name="connsiteY14" fmla="*/ 800100 h 5257800"/>
                <a:gd name="connsiteX15" fmla="*/ 2006600 w 5359400"/>
                <a:gd name="connsiteY15" fmla="*/ 2273300 h 5257800"/>
                <a:gd name="connsiteX16" fmla="*/ 2171700 w 5359400"/>
                <a:gd name="connsiteY16" fmla="*/ 2349500 h 5257800"/>
                <a:gd name="connsiteX17" fmla="*/ 2235200 w 5359400"/>
                <a:gd name="connsiteY17" fmla="*/ 2133600 h 5257800"/>
                <a:gd name="connsiteX18" fmla="*/ 1549400 w 5359400"/>
                <a:gd name="connsiteY18" fmla="*/ 381000 h 5257800"/>
                <a:gd name="connsiteX19" fmla="*/ 1689100 w 5359400"/>
                <a:gd name="connsiteY19" fmla="*/ 114300 h 5257800"/>
                <a:gd name="connsiteX20" fmla="*/ 2133600 w 5359400"/>
                <a:gd name="connsiteY20" fmla="*/ 177800 h 5257800"/>
                <a:gd name="connsiteX21" fmla="*/ 2819400 w 5359400"/>
                <a:gd name="connsiteY21" fmla="*/ 1905000 h 5257800"/>
                <a:gd name="connsiteX22" fmla="*/ 3073400 w 5359400"/>
                <a:gd name="connsiteY22" fmla="*/ 2108200 h 5257800"/>
                <a:gd name="connsiteX23" fmla="*/ 2870200 w 5359400"/>
                <a:gd name="connsiteY23" fmla="*/ 342900 h 5257800"/>
                <a:gd name="connsiteX24" fmla="*/ 3162300 w 5359400"/>
                <a:gd name="connsiteY24" fmla="*/ 0 h 5257800"/>
                <a:gd name="connsiteX25" fmla="*/ 3556000 w 5359400"/>
                <a:gd name="connsiteY25" fmla="*/ 215900 h 5257800"/>
                <a:gd name="connsiteX26" fmla="*/ 3810000 w 5359400"/>
                <a:gd name="connsiteY26" fmla="*/ 2413000 h 5257800"/>
                <a:gd name="connsiteX27" fmla="*/ 3937000 w 5359400"/>
                <a:gd name="connsiteY27" fmla="*/ 2603500 h 5257800"/>
                <a:gd name="connsiteX28" fmla="*/ 4318000 w 5359400"/>
                <a:gd name="connsiteY28" fmla="*/ 1816100 h 5257800"/>
                <a:gd name="connsiteX29" fmla="*/ 4737100 w 5359400"/>
                <a:gd name="connsiteY29" fmla="*/ 1333500 h 5257800"/>
                <a:gd name="connsiteX30" fmla="*/ 5181600 w 5359400"/>
                <a:gd name="connsiteY30" fmla="*/ 1371600 h 5257800"/>
                <a:gd name="connsiteX31" fmla="*/ 5359400 w 5359400"/>
                <a:gd name="connsiteY31" fmla="*/ 1536700 h 5257800"/>
                <a:gd name="connsiteX32" fmla="*/ 4927600 w 5359400"/>
                <a:gd name="connsiteY32" fmla="*/ 2019300 h 5257800"/>
                <a:gd name="connsiteX33" fmla="*/ 4279900 w 5359400"/>
                <a:gd name="connsiteY33" fmla="*/ 4318000 h 5257800"/>
                <a:gd name="connsiteX34" fmla="*/ 3898900 w 5359400"/>
                <a:gd name="connsiteY34" fmla="*/ 4864100 h 5257800"/>
                <a:gd name="connsiteX35" fmla="*/ 3276600 w 5359400"/>
                <a:gd name="connsiteY35" fmla="*/ 5168900 h 5257800"/>
                <a:gd name="connsiteX36" fmla="*/ 2921000 w 5359400"/>
                <a:gd name="connsiteY36" fmla="*/ 5257800 h 5257800"/>
                <a:gd name="connsiteX0" fmla="*/ 2921000 w 5359400"/>
                <a:gd name="connsiteY0" fmla="*/ 5257800 h 5257800"/>
                <a:gd name="connsiteX1" fmla="*/ 2921000 w 5359400"/>
                <a:gd name="connsiteY1" fmla="*/ 5257800 h 5257800"/>
                <a:gd name="connsiteX2" fmla="*/ 2268220 w 5359400"/>
                <a:gd name="connsiteY2" fmla="*/ 5143500 h 5257800"/>
                <a:gd name="connsiteX3" fmla="*/ 1676400 w 5359400"/>
                <a:gd name="connsiteY3" fmla="*/ 4635500 h 5257800"/>
                <a:gd name="connsiteX4" fmla="*/ 1242060 w 5359400"/>
                <a:gd name="connsiteY4" fmla="*/ 3690620 h 5257800"/>
                <a:gd name="connsiteX5" fmla="*/ 96520 w 5359400"/>
                <a:gd name="connsiteY5" fmla="*/ 2090420 h 5257800"/>
                <a:gd name="connsiteX6" fmla="*/ 0 w 5359400"/>
                <a:gd name="connsiteY6" fmla="*/ 1765300 h 5257800"/>
                <a:gd name="connsiteX7" fmla="*/ 165100 w 5359400"/>
                <a:gd name="connsiteY7" fmla="*/ 1587500 h 5257800"/>
                <a:gd name="connsiteX8" fmla="*/ 342900 w 5359400"/>
                <a:gd name="connsiteY8" fmla="*/ 1549400 h 5257800"/>
                <a:gd name="connsiteX9" fmla="*/ 673100 w 5359400"/>
                <a:gd name="connsiteY9" fmla="*/ 1803400 h 5257800"/>
                <a:gd name="connsiteX10" fmla="*/ 1320800 w 5359400"/>
                <a:gd name="connsiteY10" fmla="*/ 2806700 h 5257800"/>
                <a:gd name="connsiteX11" fmla="*/ 1524000 w 5359400"/>
                <a:gd name="connsiteY11" fmla="*/ 2908300 h 5257800"/>
                <a:gd name="connsiteX12" fmla="*/ 1562100 w 5359400"/>
                <a:gd name="connsiteY12" fmla="*/ 2819400 h 5257800"/>
                <a:gd name="connsiteX13" fmla="*/ 596900 w 5359400"/>
                <a:gd name="connsiteY13" fmla="*/ 1016000 h 5257800"/>
                <a:gd name="connsiteX14" fmla="*/ 1270000 w 5359400"/>
                <a:gd name="connsiteY14" fmla="*/ 800100 h 5257800"/>
                <a:gd name="connsiteX15" fmla="*/ 2006600 w 5359400"/>
                <a:gd name="connsiteY15" fmla="*/ 2273300 h 5257800"/>
                <a:gd name="connsiteX16" fmla="*/ 2171700 w 5359400"/>
                <a:gd name="connsiteY16" fmla="*/ 2349500 h 5257800"/>
                <a:gd name="connsiteX17" fmla="*/ 2235200 w 5359400"/>
                <a:gd name="connsiteY17" fmla="*/ 2133600 h 5257800"/>
                <a:gd name="connsiteX18" fmla="*/ 1549400 w 5359400"/>
                <a:gd name="connsiteY18" fmla="*/ 381000 h 5257800"/>
                <a:gd name="connsiteX19" fmla="*/ 1689100 w 5359400"/>
                <a:gd name="connsiteY19" fmla="*/ 114300 h 5257800"/>
                <a:gd name="connsiteX20" fmla="*/ 2133600 w 5359400"/>
                <a:gd name="connsiteY20" fmla="*/ 177800 h 5257800"/>
                <a:gd name="connsiteX21" fmla="*/ 2819400 w 5359400"/>
                <a:gd name="connsiteY21" fmla="*/ 1905000 h 5257800"/>
                <a:gd name="connsiteX22" fmla="*/ 3073400 w 5359400"/>
                <a:gd name="connsiteY22" fmla="*/ 2108200 h 5257800"/>
                <a:gd name="connsiteX23" fmla="*/ 2870200 w 5359400"/>
                <a:gd name="connsiteY23" fmla="*/ 342900 h 5257800"/>
                <a:gd name="connsiteX24" fmla="*/ 3162300 w 5359400"/>
                <a:gd name="connsiteY24" fmla="*/ 0 h 5257800"/>
                <a:gd name="connsiteX25" fmla="*/ 3556000 w 5359400"/>
                <a:gd name="connsiteY25" fmla="*/ 215900 h 5257800"/>
                <a:gd name="connsiteX26" fmla="*/ 3810000 w 5359400"/>
                <a:gd name="connsiteY26" fmla="*/ 2413000 h 5257800"/>
                <a:gd name="connsiteX27" fmla="*/ 3937000 w 5359400"/>
                <a:gd name="connsiteY27" fmla="*/ 2603500 h 5257800"/>
                <a:gd name="connsiteX28" fmla="*/ 4318000 w 5359400"/>
                <a:gd name="connsiteY28" fmla="*/ 1816100 h 5257800"/>
                <a:gd name="connsiteX29" fmla="*/ 4737100 w 5359400"/>
                <a:gd name="connsiteY29" fmla="*/ 1333500 h 5257800"/>
                <a:gd name="connsiteX30" fmla="*/ 5181600 w 5359400"/>
                <a:gd name="connsiteY30" fmla="*/ 1371600 h 5257800"/>
                <a:gd name="connsiteX31" fmla="*/ 5359400 w 5359400"/>
                <a:gd name="connsiteY31" fmla="*/ 1536700 h 5257800"/>
                <a:gd name="connsiteX32" fmla="*/ 4927600 w 5359400"/>
                <a:gd name="connsiteY32" fmla="*/ 2019300 h 5257800"/>
                <a:gd name="connsiteX33" fmla="*/ 4279900 w 5359400"/>
                <a:gd name="connsiteY33" fmla="*/ 4318000 h 5257800"/>
                <a:gd name="connsiteX34" fmla="*/ 3898900 w 5359400"/>
                <a:gd name="connsiteY34" fmla="*/ 4864100 h 5257800"/>
                <a:gd name="connsiteX35" fmla="*/ 3276600 w 5359400"/>
                <a:gd name="connsiteY35" fmla="*/ 5168900 h 5257800"/>
                <a:gd name="connsiteX36" fmla="*/ 2921000 w 5359400"/>
                <a:gd name="connsiteY36" fmla="*/ 5257800 h 5257800"/>
                <a:gd name="connsiteX0" fmla="*/ 2921000 w 5359400"/>
                <a:gd name="connsiteY0" fmla="*/ 5257800 h 5257800"/>
                <a:gd name="connsiteX1" fmla="*/ 2921000 w 5359400"/>
                <a:gd name="connsiteY1" fmla="*/ 5257800 h 5257800"/>
                <a:gd name="connsiteX2" fmla="*/ 2268220 w 5359400"/>
                <a:gd name="connsiteY2" fmla="*/ 5143500 h 5257800"/>
                <a:gd name="connsiteX3" fmla="*/ 1676400 w 5359400"/>
                <a:gd name="connsiteY3" fmla="*/ 4635500 h 5257800"/>
                <a:gd name="connsiteX4" fmla="*/ 1242060 w 5359400"/>
                <a:gd name="connsiteY4" fmla="*/ 3690620 h 5257800"/>
                <a:gd name="connsiteX5" fmla="*/ 96520 w 5359400"/>
                <a:gd name="connsiteY5" fmla="*/ 2090420 h 5257800"/>
                <a:gd name="connsiteX6" fmla="*/ 0 w 5359400"/>
                <a:gd name="connsiteY6" fmla="*/ 1765300 h 5257800"/>
                <a:gd name="connsiteX7" fmla="*/ 165100 w 5359400"/>
                <a:gd name="connsiteY7" fmla="*/ 1587500 h 5257800"/>
                <a:gd name="connsiteX8" fmla="*/ 342900 w 5359400"/>
                <a:gd name="connsiteY8" fmla="*/ 1549400 h 5257800"/>
                <a:gd name="connsiteX9" fmla="*/ 1320800 w 5359400"/>
                <a:gd name="connsiteY9" fmla="*/ 2806700 h 5257800"/>
                <a:gd name="connsiteX10" fmla="*/ 1524000 w 5359400"/>
                <a:gd name="connsiteY10" fmla="*/ 2908300 h 5257800"/>
                <a:gd name="connsiteX11" fmla="*/ 1562100 w 5359400"/>
                <a:gd name="connsiteY11" fmla="*/ 2819400 h 5257800"/>
                <a:gd name="connsiteX12" fmla="*/ 596900 w 5359400"/>
                <a:gd name="connsiteY12" fmla="*/ 1016000 h 5257800"/>
                <a:gd name="connsiteX13" fmla="*/ 1270000 w 5359400"/>
                <a:gd name="connsiteY13" fmla="*/ 800100 h 5257800"/>
                <a:gd name="connsiteX14" fmla="*/ 2006600 w 5359400"/>
                <a:gd name="connsiteY14" fmla="*/ 2273300 h 5257800"/>
                <a:gd name="connsiteX15" fmla="*/ 2171700 w 5359400"/>
                <a:gd name="connsiteY15" fmla="*/ 2349500 h 5257800"/>
                <a:gd name="connsiteX16" fmla="*/ 2235200 w 5359400"/>
                <a:gd name="connsiteY16" fmla="*/ 2133600 h 5257800"/>
                <a:gd name="connsiteX17" fmla="*/ 1549400 w 5359400"/>
                <a:gd name="connsiteY17" fmla="*/ 381000 h 5257800"/>
                <a:gd name="connsiteX18" fmla="*/ 1689100 w 5359400"/>
                <a:gd name="connsiteY18" fmla="*/ 114300 h 5257800"/>
                <a:gd name="connsiteX19" fmla="*/ 2133600 w 5359400"/>
                <a:gd name="connsiteY19" fmla="*/ 177800 h 5257800"/>
                <a:gd name="connsiteX20" fmla="*/ 2819400 w 5359400"/>
                <a:gd name="connsiteY20" fmla="*/ 1905000 h 5257800"/>
                <a:gd name="connsiteX21" fmla="*/ 3073400 w 5359400"/>
                <a:gd name="connsiteY21" fmla="*/ 2108200 h 5257800"/>
                <a:gd name="connsiteX22" fmla="*/ 2870200 w 5359400"/>
                <a:gd name="connsiteY22" fmla="*/ 342900 h 5257800"/>
                <a:gd name="connsiteX23" fmla="*/ 3162300 w 5359400"/>
                <a:gd name="connsiteY23" fmla="*/ 0 h 5257800"/>
                <a:gd name="connsiteX24" fmla="*/ 3556000 w 5359400"/>
                <a:gd name="connsiteY24" fmla="*/ 215900 h 5257800"/>
                <a:gd name="connsiteX25" fmla="*/ 3810000 w 5359400"/>
                <a:gd name="connsiteY25" fmla="*/ 2413000 h 5257800"/>
                <a:gd name="connsiteX26" fmla="*/ 3937000 w 5359400"/>
                <a:gd name="connsiteY26" fmla="*/ 2603500 h 5257800"/>
                <a:gd name="connsiteX27" fmla="*/ 4318000 w 5359400"/>
                <a:gd name="connsiteY27" fmla="*/ 1816100 h 5257800"/>
                <a:gd name="connsiteX28" fmla="*/ 4737100 w 5359400"/>
                <a:gd name="connsiteY28" fmla="*/ 1333500 h 5257800"/>
                <a:gd name="connsiteX29" fmla="*/ 5181600 w 5359400"/>
                <a:gd name="connsiteY29" fmla="*/ 1371600 h 5257800"/>
                <a:gd name="connsiteX30" fmla="*/ 5359400 w 5359400"/>
                <a:gd name="connsiteY30" fmla="*/ 1536700 h 5257800"/>
                <a:gd name="connsiteX31" fmla="*/ 4927600 w 5359400"/>
                <a:gd name="connsiteY31" fmla="*/ 2019300 h 5257800"/>
                <a:gd name="connsiteX32" fmla="*/ 4279900 w 5359400"/>
                <a:gd name="connsiteY32" fmla="*/ 4318000 h 5257800"/>
                <a:gd name="connsiteX33" fmla="*/ 3898900 w 5359400"/>
                <a:gd name="connsiteY33" fmla="*/ 4864100 h 5257800"/>
                <a:gd name="connsiteX34" fmla="*/ 3276600 w 5359400"/>
                <a:gd name="connsiteY34" fmla="*/ 5168900 h 5257800"/>
                <a:gd name="connsiteX35" fmla="*/ 2921000 w 5359400"/>
                <a:gd name="connsiteY35" fmla="*/ 5257800 h 5257800"/>
                <a:gd name="connsiteX0" fmla="*/ 2824480 w 5262880"/>
                <a:gd name="connsiteY0" fmla="*/ 5257800 h 5257800"/>
                <a:gd name="connsiteX1" fmla="*/ 2824480 w 5262880"/>
                <a:gd name="connsiteY1" fmla="*/ 5257800 h 5257800"/>
                <a:gd name="connsiteX2" fmla="*/ 2171700 w 5262880"/>
                <a:gd name="connsiteY2" fmla="*/ 5143500 h 5257800"/>
                <a:gd name="connsiteX3" fmla="*/ 1579880 w 5262880"/>
                <a:gd name="connsiteY3" fmla="*/ 4635500 h 5257800"/>
                <a:gd name="connsiteX4" fmla="*/ 1145540 w 5262880"/>
                <a:gd name="connsiteY4" fmla="*/ 3690620 h 5257800"/>
                <a:gd name="connsiteX5" fmla="*/ 0 w 5262880"/>
                <a:gd name="connsiteY5" fmla="*/ 2090420 h 5257800"/>
                <a:gd name="connsiteX6" fmla="*/ 68580 w 5262880"/>
                <a:gd name="connsiteY6" fmla="*/ 1587500 h 5257800"/>
                <a:gd name="connsiteX7" fmla="*/ 246380 w 5262880"/>
                <a:gd name="connsiteY7" fmla="*/ 1549400 h 5257800"/>
                <a:gd name="connsiteX8" fmla="*/ 1224280 w 5262880"/>
                <a:gd name="connsiteY8" fmla="*/ 2806700 h 5257800"/>
                <a:gd name="connsiteX9" fmla="*/ 1427480 w 5262880"/>
                <a:gd name="connsiteY9" fmla="*/ 2908300 h 5257800"/>
                <a:gd name="connsiteX10" fmla="*/ 1465580 w 5262880"/>
                <a:gd name="connsiteY10" fmla="*/ 2819400 h 5257800"/>
                <a:gd name="connsiteX11" fmla="*/ 500380 w 5262880"/>
                <a:gd name="connsiteY11" fmla="*/ 1016000 h 5257800"/>
                <a:gd name="connsiteX12" fmla="*/ 1173480 w 5262880"/>
                <a:gd name="connsiteY12" fmla="*/ 800100 h 5257800"/>
                <a:gd name="connsiteX13" fmla="*/ 1910080 w 5262880"/>
                <a:gd name="connsiteY13" fmla="*/ 2273300 h 5257800"/>
                <a:gd name="connsiteX14" fmla="*/ 2075180 w 5262880"/>
                <a:gd name="connsiteY14" fmla="*/ 2349500 h 5257800"/>
                <a:gd name="connsiteX15" fmla="*/ 2138680 w 5262880"/>
                <a:gd name="connsiteY15" fmla="*/ 2133600 h 5257800"/>
                <a:gd name="connsiteX16" fmla="*/ 1452880 w 5262880"/>
                <a:gd name="connsiteY16" fmla="*/ 381000 h 5257800"/>
                <a:gd name="connsiteX17" fmla="*/ 1592580 w 5262880"/>
                <a:gd name="connsiteY17" fmla="*/ 114300 h 5257800"/>
                <a:gd name="connsiteX18" fmla="*/ 2037080 w 5262880"/>
                <a:gd name="connsiteY18" fmla="*/ 177800 h 5257800"/>
                <a:gd name="connsiteX19" fmla="*/ 2722880 w 5262880"/>
                <a:gd name="connsiteY19" fmla="*/ 1905000 h 5257800"/>
                <a:gd name="connsiteX20" fmla="*/ 2976880 w 5262880"/>
                <a:gd name="connsiteY20" fmla="*/ 2108200 h 5257800"/>
                <a:gd name="connsiteX21" fmla="*/ 2773680 w 5262880"/>
                <a:gd name="connsiteY21" fmla="*/ 342900 h 5257800"/>
                <a:gd name="connsiteX22" fmla="*/ 3065780 w 5262880"/>
                <a:gd name="connsiteY22" fmla="*/ 0 h 5257800"/>
                <a:gd name="connsiteX23" fmla="*/ 3459480 w 5262880"/>
                <a:gd name="connsiteY23" fmla="*/ 215900 h 5257800"/>
                <a:gd name="connsiteX24" fmla="*/ 3713480 w 5262880"/>
                <a:gd name="connsiteY24" fmla="*/ 2413000 h 5257800"/>
                <a:gd name="connsiteX25" fmla="*/ 3840480 w 5262880"/>
                <a:gd name="connsiteY25" fmla="*/ 2603500 h 5257800"/>
                <a:gd name="connsiteX26" fmla="*/ 4221480 w 5262880"/>
                <a:gd name="connsiteY26" fmla="*/ 1816100 h 5257800"/>
                <a:gd name="connsiteX27" fmla="*/ 4640580 w 5262880"/>
                <a:gd name="connsiteY27" fmla="*/ 1333500 h 5257800"/>
                <a:gd name="connsiteX28" fmla="*/ 5085080 w 5262880"/>
                <a:gd name="connsiteY28" fmla="*/ 1371600 h 5257800"/>
                <a:gd name="connsiteX29" fmla="*/ 5262880 w 5262880"/>
                <a:gd name="connsiteY29" fmla="*/ 1536700 h 5257800"/>
                <a:gd name="connsiteX30" fmla="*/ 4831080 w 5262880"/>
                <a:gd name="connsiteY30" fmla="*/ 2019300 h 5257800"/>
                <a:gd name="connsiteX31" fmla="*/ 4183380 w 5262880"/>
                <a:gd name="connsiteY31" fmla="*/ 4318000 h 5257800"/>
                <a:gd name="connsiteX32" fmla="*/ 3802380 w 5262880"/>
                <a:gd name="connsiteY32" fmla="*/ 4864100 h 5257800"/>
                <a:gd name="connsiteX33" fmla="*/ 3180080 w 5262880"/>
                <a:gd name="connsiteY33" fmla="*/ 5168900 h 5257800"/>
                <a:gd name="connsiteX34" fmla="*/ 2824480 w 5262880"/>
                <a:gd name="connsiteY34" fmla="*/ 5257800 h 5257800"/>
                <a:gd name="connsiteX0" fmla="*/ 2824480 w 5262880"/>
                <a:gd name="connsiteY0" fmla="*/ 5257800 h 5257800"/>
                <a:gd name="connsiteX1" fmla="*/ 2824480 w 5262880"/>
                <a:gd name="connsiteY1" fmla="*/ 5257800 h 5257800"/>
                <a:gd name="connsiteX2" fmla="*/ 2171700 w 5262880"/>
                <a:gd name="connsiteY2" fmla="*/ 5143500 h 5257800"/>
                <a:gd name="connsiteX3" fmla="*/ 1579880 w 5262880"/>
                <a:gd name="connsiteY3" fmla="*/ 4635500 h 5257800"/>
                <a:gd name="connsiteX4" fmla="*/ 1145540 w 5262880"/>
                <a:gd name="connsiteY4" fmla="*/ 3690620 h 5257800"/>
                <a:gd name="connsiteX5" fmla="*/ 0 w 5262880"/>
                <a:gd name="connsiteY5" fmla="*/ 2090420 h 5257800"/>
                <a:gd name="connsiteX6" fmla="*/ 246380 w 5262880"/>
                <a:gd name="connsiteY6" fmla="*/ 1549400 h 5257800"/>
                <a:gd name="connsiteX7" fmla="*/ 1224280 w 5262880"/>
                <a:gd name="connsiteY7" fmla="*/ 2806700 h 5257800"/>
                <a:gd name="connsiteX8" fmla="*/ 1427480 w 5262880"/>
                <a:gd name="connsiteY8" fmla="*/ 2908300 h 5257800"/>
                <a:gd name="connsiteX9" fmla="*/ 1465580 w 5262880"/>
                <a:gd name="connsiteY9" fmla="*/ 2819400 h 5257800"/>
                <a:gd name="connsiteX10" fmla="*/ 500380 w 5262880"/>
                <a:gd name="connsiteY10" fmla="*/ 1016000 h 5257800"/>
                <a:gd name="connsiteX11" fmla="*/ 1173480 w 5262880"/>
                <a:gd name="connsiteY11" fmla="*/ 800100 h 5257800"/>
                <a:gd name="connsiteX12" fmla="*/ 1910080 w 5262880"/>
                <a:gd name="connsiteY12" fmla="*/ 2273300 h 5257800"/>
                <a:gd name="connsiteX13" fmla="*/ 2075180 w 5262880"/>
                <a:gd name="connsiteY13" fmla="*/ 2349500 h 5257800"/>
                <a:gd name="connsiteX14" fmla="*/ 2138680 w 5262880"/>
                <a:gd name="connsiteY14" fmla="*/ 2133600 h 5257800"/>
                <a:gd name="connsiteX15" fmla="*/ 1452880 w 5262880"/>
                <a:gd name="connsiteY15" fmla="*/ 381000 h 5257800"/>
                <a:gd name="connsiteX16" fmla="*/ 1592580 w 5262880"/>
                <a:gd name="connsiteY16" fmla="*/ 114300 h 5257800"/>
                <a:gd name="connsiteX17" fmla="*/ 2037080 w 5262880"/>
                <a:gd name="connsiteY17" fmla="*/ 177800 h 5257800"/>
                <a:gd name="connsiteX18" fmla="*/ 2722880 w 5262880"/>
                <a:gd name="connsiteY18" fmla="*/ 1905000 h 5257800"/>
                <a:gd name="connsiteX19" fmla="*/ 2976880 w 5262880"/>
                <a:gd name="connsiteY19" fmla="*/ 2108200 h 5257800"/>
                <a:gd name="connsiteX20" fmla="*/ 2773680 w 5262880"/>
                <a:gd name="connsiteY20" fmla="*/ 342900 h 5257800"/>
                <a:gd name="connsiteX21" fmla="*/ 3065780 w 5262880"/>
                <a:gd name="connsiteY21" fmla="*/ 0 h 5257800"/>
                <a:gd name="connsiteX22" fmla="*/ 3459480 w 5262880"/>
                <a:gd name="connsiteY22" fmla="*/ 215900 h 5257800"/>
                <a:gd name="connsiteX23" fmla="*/ 3713480 w 5262880"/>
                <a:gd name="connsiteY23" fmla="*/ 2413000 h 5257800"/>
                <a:gd name="connsiteX24" fmla="*/ 3840480 w 5262880"/>
                <a:gd name="connsiteY24" fmla="*/ 2603500 h 5257800"/>
                <a:gd name="connsiteX25" fmla="*/ 4221480 w 5262880"/>
                <a:gd name="connsiteY25" fmla="*/ 1816100 h 5257800"/>
                <a:gd name="connsiteX26" fmla="*/ 4640580 w 5262880"/>
                <a:gd name="connsiteY26" fmla="*/ 1333500 h 5257800"/>
                <a:gd name="connsiteX27" fmla="*/ 5085080 w 5262880"/>
                <a:gd name="connsiteY27" fmla="*/ 1371600 h 5257800"/>
                <a:gd name="connsiteX28" fmla="*/ 5262880 w 5262880"/>
                <a:gd name="connsiteY28" fmla="*/ 1536700 h 5257800"/>
                <a:gd name="connsiteX29" fmla="*/ 4831080 w 5262880"/>
                <a:gd name="connsiteY29" fmla="*/ 2019300 h 5257800"/>
                <a:gd name="connsiteX30" fmla="*/ 4183380 w 5262880"/>
                <a:gd name="connsiteY30" fmla="*/ 4318000 h 5257800"/>
                <a:gd name="connsiteX31" fmla="*/ 3802380 w 5262880"/>
                <a:gd name="connsiteY31" fmla="*/ 4864100 h 5257800"/>
                <a:gd name="connsiteX32" fmla="*/ 3180080 w 5262880"/>
                <a:gd name="connsiteY32" fmla="*/ 5168900 h 5257800"/>
                <a:gd name="connsiteX33" fmla="*/ 2824480 w 5262880"/>
                <a:gd name="connsiteY33" fmla="*/ 5257800 h 5257800"/>
                <a:gd name="connsiteX0" fmla="*/ 2824480 w 5262880"/>
                <a:gd name="connsiteY0" fmla="*/ 5257800 h 5257800"/>
                <a:gd name="connsiteX1" fmla="*/ 2824480 w 5262880"/>
                <a:gd name="connsiteY1" fmla="*/ 5257800 h 5257800"/>
                <a:gd name="connsiteX2" fmla="*/ 2171700 w 5262880"/>
                <a:gd name="connsiteY2" fmla="*/ 5143500 h 5257800"/>
                <a:gd name="connsiteX3" fmla="*/ 1579880 w 5262880"/>
                <a:gd name="connsiteY3" fmla="*/ 4635500 h 5257800"/>
                <a:gd name="connsiteX4" fmla="*/ 1145540 w 5262880"/>
                <a:gd name="connsiteY4" fmla="*/ 3690620 h 5257800"/>
                <a:gd name="connsiteX5" fmla="*/ 0 w 5262880"/>
                <a:gd name="connsiteY5" fmla="*/ 2090420 h 5257800"/>
                <a:gd name="connsiteX6" fmla="*/ 246380 w 5262880"/>
                <a:gd name="connsiteY6" fmla="*/ 1549400 h 5257800"/>
                <a:gd name="connsiteX7" fmla="*/ 1224280 w 5262880"/>
                <a:gd name="connsiteY7" fmla="*/ 2806700 h 5257800"/>
                <a:gd name="connsiteX8" fmla="*/ 1427480 w 5262880"/>
                <a:gd name="connsiteY8" fmla="*/ 2908300 h 5257800"/>
                <a:gd name="connsiteX9" fmla="*/ 1465580 w 5262880"/>
                <a:gd name="connsiteY9" fmla="*/ 2819400 h 5257800"/>
                <a:gd name="connsiteX10" fmla="*/ 500380 w 5262880"/>
                <a:gd name="connsiteY10" fmla="*/ 1016000 h 5257800"/>
                <a:gd name="connsiteX11" fmla="*/ 1173480 w 5262880"/>
                <a:gd name="connsiteY11" fmla="*/ 800100 h 5257800"/>
                <a:gd name="connsiteX12" fmla="*/ 1910080 w 5262880"/>
                <a:gd name="connsiteY12" fmla="*/ 2273300 h 5257800"/>
                <a:gd name="connsiteX13" fmla="*/ 2075180 w 5262880"/>
                <a:gd name="connsiteY13" fmla="*/ 2349500 h 5257800"/>
                <a:gd name="connsiteX14" fmla="*/ 2138680 w 5262880"/>
                <a:gd name="connsiteY14" fmla="*/ 2133600 h 5257800"/>
                <a:gd name="connsiteX15" fmla="*/ 1452880 w 5262880"/>
                <a:gd name="connsiteY15" fmla="*/ 381000 h 5257800"/>
                <a:gd name="connsiteX16" fmla="*/ 2037080 w 5262880"/>
                <a:gd name="connsiteY16" fmla="*/ 177800 h 5257800"/>
                <a:gd name="connsiteX17" fmla="*/ 2722880 w 5262880"/>
                <a:gd name="connsiteY17" fmla="*/ 1905000 h 5257800"/>
                <a:gd name="connsiteX18" fmla="*/ 2976880 w 5262880"/>
                <a:gd name="connsiteY18" fmla="*/ 2108200 h 5257800"/>
                <a:gd name="connsiteX19" fmla="*/ 2773680 w 5262880"/>
                <a:gd name="connsiteY19" fmla="*/ 342900 h 5257800"/>
                <a:gd name="connsiteX20" fmla="*/ 3065780 w 5262880"/>
                <a:gd name="connsiteY20" fmla="*/ 0 h 5257800"/>
                <a:gd name="connsiteX21" fmla="*/ 3459480 w 5262880"/>
                <a:gd name="connsiteY21" fmla="*/ 215900 h 5257800"/>
                <a:gd name="connsiteX22" fmla="*/ 3713480 w 5262880"/>
                <a:gd name="connsiteY22" fmla="*/ 2413000 h 5257800"/>
                <a:gd name="connsiteX23" fmla="*/ 3840480 w 5262880"/>
                <a:gd name="connsiteY23" fmla="*/ 2603500 h 5257800"/>
                <a:gd name="connsiteX24" fmla="*/ 4221480 w 5262880"/>
                <a:gd name="connsiteY24" fmla="*/ 1816100 h 5257800"/>
                <a:gd name="connsiteX25" fmla="*/ 4640580 w 5262880"/>
                <a:gd name="connsiteY25" fmla="*/ 1333500 h 5257800"/>
                <a:gd name="connsiteX26" fmla="*/ 5085080 w 5262880"/>
                <a:gd name="connsiteY26" fmla="*/ 1371600 h 5257800"/>
                <a:gd name="connsiteX27" fmla="*/ 5262880 w 5262880"/>
                <a:gd name="connsiteY27" fmla="*/ 1536700 h 5257800"/>
                <a:gd name="connsiteX28" fmla="*/ 4831080 w 5262880"/>
                <a:gd name="connsiteY28" fmla="*/ 2019300 h 5257800"/>
                <a:gd name="connsiteX29" fmla="*/ 4183380 w 5262880"/>
                <a:gd name="connsiteY29" fmla="*/ 4318000 h 5257800"/>
                <a:gd name="connsiteX30" fmla="*/ 3802380 w 5262880"/>
                <a:gd name="connsiteY30" fmla="*/ 4864100 h 5257800"/>
                <a:gd name="connsiteX31" fmla="*/ 3180080 w 5262880"/>
                <a:gd name="connsiteY31" fmla="*/ 5168900 h 5257800"/>
                <a:gd name="connsiteX32" fmla="*/ 2824480 w 5262880"/>
                <a:gd name="connsiteY32" fmla="*/ 5257800 h 5257800"/>
                <a:gd name="connsiteX0" fmla="*/ 2824480 w 5262880"/>
                <a:gd name="connsiteY0" fmla="*/ 5080000 h 5080000"/>
                <a:gd name="connsiteX1" fmla="*/ 2824480 w 5262880"/>
                <a:gd name="connsiteY1" fmla="*/ 5080000 h 5080000"/>
                <a:gd name="connsiteX2" fmla="*/ 2171700 w 5262880"/>
                <a:gd name="connsiteY2" fmla="*/ 4965700 h 5080000"/>
                <a:gd name="connsiteX3" fmla="*/ 1579880 w 5262880"/>
                <a:gd name="connsiteY3" fmla="*/ 4457700 h 5080000"/>
                <a:gd name="connsiteX4" fmla="*/ 1145540 w 5262880"/>
                <a:gd name="connsiteY4" fmla="*/ 3512820 h 5080000"/>
                <a:gd name="connsiteX5" fmla="*/ 0 w 5262880"/>
                <a:gd name="connsiteY5" fmla="*/ 1912620 h 5080000"/>
                <a:gd name="connsiteX6" fmla="*/ 246380 w 5262880"/>
                <a:gd name="connsiteY6" fmla="*/ 1371600 h 5080000"/>
                <a:gd name="connsiteX7" fmla="*/ 1224280 w 5262880"/>
                <a:gd name="connsiteY7" fmla="*/ 2628900 h 5080000"/>
                <a:gd name="connsiteX8" fmla="*/ 1427480 w 5262880"/>
                <a:gd name="connsiteY8" fmla="*/ 2730500 h 5080000"/>
                <a:gd name="connsiteX9" fmla="*/ 1465580 w 5262880"/>
                <a:gd name="connsiteY9" fmla="*/ 2641600 h 5080000"/>
                <a:gd name="connsiteX10" fmla="*/ 500380 w 5262880"/>
                <a:gd name="connsiteY10" fmla="*/ 838200 h 5080000"/>
                <a:gd name="connsiteX11" fmla="*/ 1173480 w 5262880"/>
                <a:gd name="connsiteY11" fmla="*/ 622300 h 5080000"/>
                <a:gd name="connsiteX12" fmla="*/ 1910080 w 5262880"/>
                <a:gd name="connsiteY12" fmla="*/ 2095500 h 5080000"/>
                <a:gd name="connsiteX13" fmla="*/ 2075180 w 5262880"/>
                <a:gd name="connsiteY13" fmla="*/ 2171700 h 5080000"/>
                <a:gd name="connsiteX14" fmla="*/ 2138680 w 5262880"/>
                <a:gd name="connsiteY14" fmla="*/ 1955800 h 5080000"/>
                <a:gd name="connsiteX15" fmla="*/ 1452880 w 5262880"/>
                <a:gd name="connsiteY15" fmla="*/ 203200 h 5080000"/>
                <a:gd name="connsiteX16" fmla="*/ 2037080 w 5262880"/>
                <a:gd name="connsiteY16" fmla="*/ 0 h 5080000"/>
                <a:gd name="connsiteX17" fmla="*/ 2722880 w 5262880"/>
                <a:gd name="connsiteY17" fmla="*/ 1727200 h 5080000"/>
                <a:gd name="connsiteX18" fmla="*/ 2976880 w 5262880"/>
                <a:gd name="connsiteY18" fmla="*/ 1930400 h 5080000"/>
                <a:gd name="connsiteX19" fmla="*/ 2773680 w 5262880"/>
                <a:gd name="connsiteY19" fmla="*/ 165100 h 5080000"/>
                <a:gd name="connsiteX20" fmla="*/ 3459480 w 5262880"/>
                <a:gd name="connsiteY20" fmla="*/ 38100 h 5080000"/>
                <a:gd name="connsiteX21" fmla="*/ 3713480 w 5262880"/>
                <a:gd name="connsiteY21" fmla="*/ 2235200 h 5080000"/>
                <a:gd name="connsiteX22" fmla="*/ 3840480 w 5262880"/>
                <a:gd name="connsiteY22" fmla="*/ 2425700 h 5080000"/>
                <a:gd name="connsiteX23" fmla="*/ 4221480 w 5262880"/>
                <a:gd name="connsiteY23" fmla="*/ 1638300 h 5080000"/>
                <a:gd name="connsiteX24" fmla="*/ 4640580 w 5262880"/>
                <a:gd name="connsiteY24" fmla="*/ 1155700 h 5080000"/>
                <a:gd name="connsiteX25" fmla="*/ 5085080 w 5262880"/>
                <a:gd name="connsiteY25" fmla="*/ 1193800 h 5080000"/>
                <a:gd name="connsiteX26" fmla="*/ 5262880 w 5262880"/>
                <a:gd name="connsiteY26" fmla="*/ 1358900 h 5080000"/>
                <a:gd name="connsiteX27" fmla="*/ 4831080 w 5262880"/>
                <a:gd name="connsiteY27" fmla="*/ 1841500 h 5080000"/>
                <a:gd name="connsiteX28" fmla="*/ 4183380 w 5262880"/>
                <a:gd name="connsiteY28" fmla="*/ 4140200 h 5080000"/>
                <a:gd name="connsiteX29" fmla="*/ 3802380 w 5262880"/>
                <a:gd name="connsiteY29" fmla="*/ 4686300 h 5080000"/>
                <a:gd name="connsiteX30" fmla="*/ 3180080 w 5262880"/>
                <a:gd name="connsiteY30" fmla="*/ 4991100 h 5080000"/>
                <a:gd name="connsiteX31" fmla="*/ 2824480 w 5262880"/>
                <a:gd name="connsiteY31" fmla="*/ 5080000 h 5080000"/>
                <a:gd name="connsiteX0" fmla="*/ 2829425 w 5267825"/>
                <a:gd name="connsiteY0" fmla="*/ 5080000 h 5080000"/>
                <a:gd name="connsiteX1" fmla="*/ 2829425 w 5267825"/>
                <a:gd name="connsiteY1" fmla="*/ 5080000 h 5080000"/>
                <a:gd name="connsiteX2" fmla="*/ 2176645 w 5267825"/>
                <a:gd name="connsiteY2" fmla="*/ 4965700 h 5080000"/>
                <a:gd name="connsiteX3" fmla="*/ 1584825 w 5267825"/>
                <a:gd name="connsiteY3" fmla="*/ 4457700 h 5080000"/>
                <a:gd name="connsiteX4" fmla="*/ 1150485 w 5267825"/>
                <a:gd name="connsiteY4" fmla="*/ 3512820 h 5080000"/>
                <a:gd name="connsiteX5" fmla="*/ 4945 w 5267825"/>
                <a:gd name="connsiteY5" fmla="*/ 1912620 h 5080000"/>
                <a:gd name="connsiteX6" fmla="*/ 251325 w 5267825"/>
                <a:gd name="connsiteY6" fmla="*/ 1371600 h 5080000"/>
                <a:gd name="connsiteX7" fmla="*/ 1229225 w 5267825"/>
                <a:gd name="connsiteY7" fmla="*/ 2628900 h 5080000"/>
                <a:gd name="connsiteX8" fmla="*/ 1432425 w 5267825"/>
                <a:gd name="connsiteY8" fmla="*/ 2730500 h 5080000"/>
                <a:gd name="connsiteX9" fmla="*/ 1470525 w 5267825"/>
                <a:gd name="connsiteY9" fmla="*/ 2641600 h 5080000"/>
                <a:gd name="connsiteX10" fmla="*/ 505325 w 5267825"/>
                <a:gd name="connsiteY10" fmla="*/ 838200 h 5080000"/>
                <a:gd name="connsiteX11" fmla="*/ 1178425 w 5267825"/>
                <a:gd name="connsiteY11" fmla="*/ 622300 h 5080000"/>
                <a:gd name="connsiteX12" fmla="*/ 1915025 w 5267825"/>
                <a:gd name="connsiteY12" fmla="*/ 2095500 h 5080000"/>
                <a:gd name="connsiteX13" fmla="*/ 2080125 w 5267825"/>
                <a:gd name="connsiteY13" fmla="*/ 2171700 h 5080000"/>
                <a:gd name="connsiteX14" fmla="*/ 2143625 w 5267825"/>
                <a:gd name="connsiteY14" fmla="*/ 1955800 h 5080000"/>
                <a:gd name="connsiteX15" fmla="*/ 1457825 w 5267825"/>
                <a:gd name="connsiteY15" fmla="*/ 203200 h 5080000"/>
                <a:gd name="connsiteX16" fmla="*/ 2042025 w 5267825"/>
                <a:gd name="connsiteY16" fmla="*/ 0 h 5080000"/>
                <a:gd name="connsiteX17" fmla="*/ 2727825 w 5267825"/>
                <a:gd name="connsiteY17" fmla="*/ 1727200 h 5080000"/>
                <a:gd name="connsiteX18" fmla="*/ 2981825 w 5267825"/>
                <a:gd name="connsiteY18" fmla="*/ 1930400 h 5080000"/>
                <a:gd name="connsiteX19" fmla="*/ 2778625 w 5267825"/>
                <a:gd name="connsiteY19" fmla="*/ 165100 h 5080000"/>
                <a:gd name="connsiteX20" fmla="*/ 3464425 w 5267825"/>
                <a:gd name="connsiteY20" fmla="*/ 38100 h 5080000"/>
                <a:gd name="connsiteX21" fmla="*/ 3718425 w 5267825"/>
                <a:gd name="connsiteY21" fmla="*/ 2235200 h 5080000"/>
                <a:gd name="connsiteX22" fmla="*/ 3845425 w 5267825"/>
                <a:gd name="connsiteY22" fmla="*/ 2425700 h 5080000"/>
                <a:gd name="connsiteX23" fmla="*/ 4226425 w 5267825"/>
                <a:gd name="connsiteY23" fmla="*/ 1638300 h 5080000"/>
                <a:gd name="connsiteX24" fmla="*/ 4645525 w 5267825"/>
                <a:gd name="connsiteY24" fmla="*/ 1155700 h 5080000"/>
                <a:gd name="connsiteX25" fmla="*/ 5090025 w 5267825"/>
                <a:gd name="connsiteY25" fmla="*/ 1193800 h 5080000"/>
                <a:gd name="connsiteX26" fmla="*/ 5267825 w 5267825"/>
                <a:gd name="connsiteY26" fmla="*/ 1358900 h 5080000"/>
                <a:gd name="connsiteX27" fmla="*/ 4836025 w 5267825"/>
                <a:gd name="connsiteY27" fmla="*/ 1841500 h 5080000"/>
                <a:gd name="connsiteX28" fmla="*/ 4188325 w 5267825"/>
                <a:gd name="connsiteY28" fmla="*/ 4140200 h 5080000"/>
                <a:gd name="connsiteX29" fmla="*/ 3807325 w 5267825"/>
                <a:gd name="connsiteY29" fmla="*/ 4686300 h 5080000"/>
                <a:gd name="connsiteX30" fmla="*/ 3185025 w 5267825"/>
                <a:gd name="connsiteY30" fmla="*/ 4991100 h 5080000"/>
                <a:gd name="connsiteX31" fmla="*/ 2829425 w 5267825"/>
                <a:gd name="connsiteY31" fmla="*/ 5080000 h 5080000"/>
                <a:gd name="connsiteX0" fmla="*/ 2829425 w 5267825"/>
                <a:gd name="connsiteY0" fmla="*/ 5080000 h 5080000"/>
                <a:gd name="connsiteX1" fmla="*/ 2829425 w 5267825"/>
                <a:gd name="connsiteY1" fmla="*/ 5080000 h 5080000"/>
                <a:gd name="connsiteX2" fmla="*/ 2176645 w 5267825"/>
                <a:gd name="connsiteY2" fmla="*/ 4965700 h 5080000"/>
                <a:gd name="connsiteX3" fmla="*/ 1584825 w 5267825"/>
                <a:gd name="connsiteY3" fmla="*/ 4457700 h 5080000"/>
                <a:gd name="connsiteX4" fmla="*/ 1150485 w 5267825"/>
                <a:gd name="connsiteY4" fmla="*/ 3512820 h 5080000"/>
                <a:gd name="connsiteX5" fmla="*/ 4945 w 5267825"/>
                <a:gd name="connsiteY5" fmla="*/ 1912620 h 5080000"/>
                <a:gd name="connsiteX6" fmla="*/ 251325 w 5267825"/>
                <a:gd name="connsiteY6" fmla="*/ 1371600 h 5080000"/>
                <a:gd name="connsiteX7" fmla="*/ 1229225 w 5267825"/>
                <a:gd name="connsiteY7" fmla="*/ 2628900 h 5080000"/>
                <a:gd name="connsiteX8" fmla="*/ 1432425 w 5267825"/>
                <a:gd name="connsiteY8" fmla="*/ 2730500 h 5080000"/>
                <a:gd name="connsiteX9" fmla="*/ 1470525 w 5267825"/>
                <a:gd name="connsiteY9" fmla="*/ 2641600 h 5080000"/>
                <a:gd name="connsiteX10" fmla="*/ 505325 w 5267825"/>
                <a:gd name="connsiteY10" fmla="*/ 838200 h 5080000"/>
                <a:gd name="connsiteX11" fmla="*/ 1178425 w 5267825"/>
                <a:gd name="connsiteY11" fmla="*/ 622300 h 5080000"/>
                <a:gd name="connsiteX12" fmla="*/ 1915025 w 5267825"/>
                <a:gd name="connsiteY12" fmla="*/ 2095500 h 5080000"/>
                <a:gd name="connsiteX13" fmla="*/ 2080125 w 5267825"/>
                <a:gd name="connsiteY13" fmla="*/ 2171700 h 5080000"/>
                <a:gd name="connsiteX14" fmla="*/ 2143625 w 5267825"/>
                <a:gd name="connsiteY14" fmla="*/ 1955800 h 5080000"/>
                <a:gd name="connsiteX15" fmla="*/ 1457825 w 5267825"/>
                <a:gd name="connsiteY15" fmla="*/ 203200 h 5080000"/>
                <a:gd name="connsiteX16" fmla="*/ 2042025 w 5267825"/>
                <a:gd name="connsiteY16" fmla="*/ 0 h 5080000"/>
                <a:gd name="connsiteX17" fmla="*/ 2727825 w 5267825"/>
                <a:gd name="connsiteY17" fmla="*/ 1727200 h 5080000"/>
                <a:gd name="connsiteX18" fmla="*/ 2981825 w 5267825"/>
                <a:gd name="connsiteY18" fmla="*/ 1930400 h 5080000"/>
                <a:gd name="connsiteX19" fmla="*/ 2778625 w 5267825"/>
                <a:gd name="connsiteY19" fmla="*/ 165100 h 5080000"/>
                <a:gd name="connsiteX20" fmla="*/ 3464425 w 5267825"/>
                <a:gd name="connsiteY20" fmla="*/ 38100 h 5080000"/>
                <a:gd name="connsiteX21" fmla="*/ 3718425 w 5267825"/>
                <a:gd name="connsiteY21" fmla="*/ 2235200 h 5080000"/>
                <a:gd name="connsiteX22" fmla="*/ 3845425 w 5267825"/>
                <a:gd name="connsiteY22" fmla="*/ 2425700 h 5080000"/>
                <a:gd name="connsiteX23" fmla="*/ 4226425 w 5267825"/>
                <a:gd name="connsiteY23" fmla="*/ 1638300 h 5080000"/>
                <a:gd name="connsiteX24" fmla="*/ 4645525 w 5267825"/>
                <a:gd name="connsiteY24" fmla="*/ 1155700 h 5080000"/>
                <a:gd name="connsiteX25" fmla="*/ 5090025 w 5267825"/>
                <a:gd name="connsiteY25" fmla="*/ 1193800 h 5080000"/>
                <a:gd name="connsiteX26" fmla="*/ 5267825 w 5267825"/>
                <a:gd name="connsiteY26" fmla="*/ 1358900 h 5080000"/>
                <a:gd name="connsiteX27" fmla="*/ 4836025 w 5267825"/>
                <a:gd name="connsiteY27" fmla="*/ 1841500 h 5080000"/>
                <a:gd name="connsiteX28" fmla="*/ 4188325 w 5267825"/>
                <a:gd name="connsiteY28" fmla="*/ 4140200 h 5080000"/>
                <a:gd name="connsiteX29" fmla="*/ 3807325 w 5267825"/>
                <a:gd name="connsiteY29" fmla="*/ 4686300 h 5080000"/>
                <a:gd name="connsiteX30" fmla="*/ 3185025 w 5267825"/>
                <a:gd name="connsiteY30" fmla="*/ 4991100 h 5080000"/>
                <a:gd name="connsiteX31" fmla="*/ 2829425 w 5267825"/>
                <a:gd name="connsiteY31" fmla="*/ 5080000 h 5080000"/>
                <a:gd name="connsiteX0" fmla="*/ 2851310 w 5289710"/>
                <a:gd name="connsiteY0" fmla="*/ 5080000 h 5080000"/>
                <a:gd name="connsiteX1" fmla="*/ 2851310 w 5289710"/>
                <a:gd name="connsiteY1" fmla="*/ 5080000 h 5080000"/>
                <a:gd name="connsiteX2" fmla="*/ 2198530 w 5289710"/>
                <a:gd name="connsiteY2" fmla="*/ 4965700 h 5080000"/>
                <a:gd name="connsiteX3" fmla="*/ 1606710 w 5289710"/>
                <a:gd name="connsiteY3" fmla="*/ 4457700 h 5080000"/>
                <a:gd name="connsiteX4" fmla="*/ 1172370 w 5289710"/>
                <a:gd name="connsiteY4" fmla="*/ 3512820 h 5080000"/>
                <a:gd name="connsiteX5" fmla="*/ 26830 w 5289710"/>
                <a:gd name="connsiteY5" fmla="*/ 1912620 h 5080000"/>
                <a:gd name="connsiteX6" fmla="*/ 395130 w 5289710"/>
                <a:gd name="connsiteY6" fmla="*/ 1470660 h 5080000"/>
                <a:gd name="connsiteX7" fmla="*/ 1251110 w 5289710"/>
                <a:gd name="connsiteY7" fmla="*/ 2628900 h 5080000"/>
                <a:gd name="connsiteX8" fmla="*/ 1454310 w 5289710"/>
                <a:gd name="connsiteY8" fmla="*/ 2730500 h 5080000"/>
                <a:gd name="connsiteX9" fmla="*/ 1492410 w 5289710"/>
                <a:gd name="connsiteY9" fmla="*/ 2641600 h 5080000"/>
                <a:gd name="connsiteX10" fmla="*/ 527210 w 5289710"/>
                <a:gd name="connsiteY10" fmla="*/ 838200 h 5080000"/>
                <a:gd name="connsiteX11" fmla="*/ 1200310 w 5289710"/>
                <a:gd name="connsiteY11" fmla="*/ 622300 h 5080000"/>
                <a:gd name="connsiteX12" fmla="*/ 1936910 w 5289710"/>
                <a:gd name="connsiteY12" fmla="*/ 2095500 h 5080000"/>
                <a:gd name="connsiteX13" fmla="*/ 2102010 w 5289710"/>
                <a:gd name="connsiteY13" fmla="*/ 2171700 h 5080000"/>
                <a:gd name="connsiteX14" fmla="*/ 2165510 w 5289710"/>
                <a:gd name="connsiteY14" fmla="*/ 1955800 h 5080000"/>
                <a:gd name="connsiteX15" fmla="*/ 1479710 w 5289710"/>
                <a:gd name="connsiteY15" fmla="*/ 203200 h 5080000"/>
                <a:gd name="connsiteX16" fmla="*/ 2063910 w 5289710"/>
                <a:gd name="connsiteY16" fmla="*/ 0 h 5080000"/>
                <a:gd name="connsiteX17" fmla="*/ 2749710 w 5289710"/>
                <a:gd name="connsiteY17" fmla="*/ 1727200 h 5080000"/>
                <a:gd name="connsiteX18" fmla="*/ 3003710 w 5289710"/>
                <a:gd name="connsiteY18" fmla="*/ 1930400 h 5080000"/>
                <a:gd name="connsiteX19" fmla="*/ 2800510 w 5289710"/>
                <a:gd name="connsiteY19" fmla="*/ 165100 h 5080000"/>
                <a:gd name="connsiteX20" fmla="*/ 3486310 w 5289710"/>
                <a:gd name="connsiteY20" fmla="*/ 38100 h 5080000"/>
                <a:gd name="connsiteX21" fmla="*/ 3740310 w 5289710"/>
                <a:gd name="connsiteY21" fmla="*/ 2235200 h 5080000"/>
                <a:gd name="connsiteX22" fmla="*/ 3867310 w 5289710"/>
                <a:gd name="connsiteY22" fmla="*/ 2425700 h 5080000"/>
                <a:gd name="connsiteX23" fmla="*/ 4248310 w 5289710"/>
                <a:gd name="connsiteY23" fmla="*/ 1638300 h 5080000"/>
                <a:gd name="connsiteX24" fmla="*/ 4667410 w 5289710"/>
                <a:gd name="connsiteY24" fmla="*/ 1155700 h 5080000"/>
                <a:gd name="connsiteX25" fmla="*/ 5111910 w 5289710"/>
                <a:gd name="connsiteY25" fmla="*/ 1193800 h 5080000"/>
                <a:gd name="connsiteX26" fmla="*/ 5289710 w 5289710"/>
                <a:gd name="connsiteY26" fmla="*/ 1358900 h 5080000"/>
                <a:gd name="connsiteX27" fmla="*/ 4857910 w 5289710"/>
                <a:gd name="connsiteY27" fmla="*/ 1841500 h 5080000"/>
                <a:gd name="connsiteX28" fmla="*/ 4210210 w 5289710"/>
                <a:gd name="connsiteY28" fmla="*/ 4140200 h 5080000"/>
                <a:gd name="connsiteX29" fmla="*/ 3829210 w 5289710"/>
                <a:gd name="connsiteY29" fmla="*/ 4686300 h 5080000"/>
                <a:gd name="connsiteX30" fmla="*/ 3206910 w 5289710"/>
                <a:gd name="connsiteY30" fmla="*/ 4991100 h 5080000"/>
                <a:gd name="connsiteX31" fmla="*/ 2851310 w 5289710"/>
                <a:gd name="connsiteY31" fmla="*/ 5080000 h 5080000"/>
                <a:gd name="connsiteX0" fmla="*/ 2906287 w 5344687"/>
                <a:gd name="connsiteY0" fmla="*/ 5080000 h 5080000"/>
                <a:gd name="connsiteX1" fmla="*/ 2906287 w 5344687"/>
                <a:gd name="connsiteY1" fmla="*/ 5080000 h 5080000"/>
                <a:gd name="connsiteX2" fmla="*/ 2253507 w 5344687"/>
                <a:gd name="connsiteY2" fmla="*/ 4965700 h 5080000"/>
                <a:gd name="connsiteX3" fmla="*/ 1661687 w 5344687"/>
                <a:gd name="connsiteY3" fmla="*/ 4457700 h 5080000"/>
                <a:gd name="connsiteX4" fmla="*/ 1227347 w 5344687"/>
                <a:gd name="connsiteY4" fmla="*/ 3512820 h 5080000"/>
                <a:gd name="connsiteX5" fmla="*/ 81807 w 5344687"/>
                <a:gd name="connsiteY5" fmla="*/ 1912620 h 5080000"/>
                <a:gd name="connsiteX6" fmla="*/ 450107 w 5344687"/>
                <a:gd name="connsiteY6" fmla="*/ 1470660 h 5080000"/>
                <a:gd name="connsiteX7" fmla="*/ 1306087 w 5344687"/>
                <a:gd name="connsiteY7" fmla="*/ 2628900 h 5080000"/>
                <a:gd name="connsiteX8" fmla="*/ 1509287 w 5344687"/>
                <a:gd name="connsiteY8" fmla="*/ 2730500 h 5080000"/>
                <a:gd name="connsiteX9" fmla="*/ 1547387 w 5344687"/>
                <a:gd name="connsiteY9" fmla="*/ 2641600 h 5080000"/>
                <a:gd name="connsiteX10" fmla="*/ 582187 w 5344687"/>
                <a:gd name="connsiteY10" fmla="*/ 838200 h 5080000"/>
                <a:gd name="connsiteX11" fmla="*/ 1255287 w 5344687"/>
                <a:gd name="connsiteY11" fmla="*/ 622300 h 5080000"/>
                <a:gd name="connsiteX12" fmla="*/ 1991887 w 5344687"/>
                <a:gd name="connsiteY12" fmla="*/ 2095500 h 5080000"/>
                <a:gd name="connsiteX13" fmla="*/ 2156987 w 5344687"/>
                <a:gd name="connsiteY13" fmla="*/ 2171700 h 5080000"/>
                <a:gd name="connsiteX14" fmla="*/ 2220487 w 5344687"/>
                <a:gd name="connsiteY14" fmla="*/ 1955800 h 5080000"/>
                <a:gd name="connsiteX15" fmla="*/ 1534687 w 5344687"/>
                <a:gd name="connsiteY15" fmla="*/ 203200 h 5080000"/>
                <a:gd name="connsiteX16" fmla="*/ 2118887 w 5344687"/>
                <a:gd name="connsiteY16" fmla="*/ 0 h 5080000"/>
                <a:gd name="connsiteX17" fmla="*/ 2804687 w 5344687"/>
                <a:gd name="connsiteY17" fmla="*/ 1727200 h 5080000"/>
                <a:gd name="connsiteX18" fmla="*/ 3058687 w 5344687"/>
                <a:gd name="connsiteY18" fmla="*/ 1930400 h 5080000"/>
                <a:gd name="connsiteX19" fmla="*/ 2855487 w 5344687"/>
                <a:gd name="connsiteY19" fmla="*/ 165100 h 5080000"/>
                <a:gd name="connsiteX20" fmla="*/ 3541287 w 5344687"/>
                <a:gd name="connsiteY20" fmla="*/ 38100 h 5080000"/>
                <a:gd name="connsiteX21" fmla="*/ 3795287 w 5344687"/>
                <a:gd name="connsiteY21" fmla="*/ 2235200 h 5080000"/>
                <a:gd name="connsiteX22" fmla="*/ 3922287 w 5344687"/>
                <a:gd name="connsiteY22" fmla="*/ 2425700 h 5080000"/>
                <a:gd name="connsiteX23" fmla="*/ 4303287 w 5344687"/>
                <a:gd name="connsiteY23" fmla="*/ 1638300 h 5080000"/>
                <a:gd name="connsiteX24" fmla="*/ 4722387 w 5344687"/>
                <a:gd name="connsiteY24" fmla="*/ 1155700 h 5080000"/>
                <a:gd name="connsiteX25" fmla="*/ 5166887 w 5344687"/>
                <a:gd name="connsiteY25" fmla="*/ 1193800 h 5080000"/>
                <a:gd name="connsiteX26" fmla="*/ 5344687 w 5344687"/>
                <a:gd name="connsiteY26" fmla="*/ 1358900 h 5080000"/>
                <a:gd name="connsiteX27" fmla="*/ 4912887 w 5344687"/>
                <a:gd name="connsiteY27" fmla="*/ 1841500 h 5080000"/>
                <a:gd name="connsiteX28" fmla="*/ 4265187 w 5344687"/>
                <a:gd name="connsiteY28" fmla="*/ 4140200 h 5080000"/>
                <a:gd name="connsiteX29" fmla="*/ 3884187 w 5344687"/>
                <a:gd name="connsiteY29" fmla="*/ 4686300 h 5080000"/>
                <a:gd name="connsiteX30" fmla="*/ 3261887 w 5344687"/>
                <a:gd name="connsiteY30" fmla="*/ 4991100 h 5080000"/>
                <a:gd name="connsiteX31" fmla="*/ 2906287 w 5344687"/>
                <a:gd name="connsiteY31" fmla="*/ 5080000 h 5080000"/>
                <a:gd name="connsiteX0" fmla="*/ 2888862 w 5327262"/>
                <a:gd name="connsiteY0" fmla="*/ 5080000 h 5080000"/>
                <a:gd name="connsiteX1" fmla="*/ 2888862 w 5327262"/>
                <a:gd name="connsiteY1" fmla="*/ 5080000 h 5080000"/>
                <a:gd name="connsiteX2" fmla="*/ 2236082 w 5327262"/>
                <a:gd name="connsiteY2" fmla="*/ 4965700 h 5080000"/>
                <a:gd name="connsiteX3" fmla="*/ 1644262 w 5327262"/>
                <a:gd name="connsiteY3" fmla="*/ 4457700 h 5080000"/>
                <a:gd name="connsiteX4" fmla="*/ 1209922 w 5327262"/>
                <a:gd name="connsiteY4" fmla="*/ 3512820 h 5080000"/>
                <a:gd name="connsiteX5" fmla="*/ 64382 w 5327262"/>
                <a:gd name="connsiteY5" fmla="*/ 1912620 h 5080000"/>
                <a:gd name="connsiteX6" fmla="*/ 432682 w 5327262"/>
                <a:gd name="connsiteY6" fmla="*/ 1470660 h 5080000"/>
                <a:gd name="connsiteX7" fmla="*/ 1288662 w 5327262"/>
                <a:gd name="connsiteY7" fmla="*/ 2628900 h 5080000"/>
                <a:gd name="connsiteX8" fmla="*/ 1491862 w 5327262"/>
                <a:gd name="connsiteY8" fmla="*/ 2730500 h 5080000"/>
                <a:gd name="connsiteX9" fmla="*/ 1529962 w 5327262"/>
                <a:gd name="connsiteY9" fmla="*/ 2641600 h 5080000"/>
                <a:gd name="connsiteX10" fmla="*/ 564762 w 5327262"/>
                <a:gd name="connsiteY10" fmla="*/ 838200 h 5080000"/>
                <a:gd name="connsiteX11" fmla="*/ 1237862 w 5327262"/>
                <a:gd name="connsiteY11" fmla="*/ 622300 h 5080000"/>
                <a:gd name="connsiteX12" fmla="*/ 1974462 w 5327262"/>
                <a:gd name="connsiteY12" fmla="*/ 2095500 h 5080000"/>
                <a:gd name="connsiteX13" fmla="*/ 2139562 w 5327262"/>
                <a:gd name="connsiteY13" fmla="*/ 2171700 h 5080000"/>
                <a:gd name="connsiteX14" fmla="*/ 2203062 w 5327262"/>
                <a:gd name="connsiteY14" fmla="*/ 1955800 h 5080000"/>
                <a:gd name="connsiteX15" fmla="*/ 1517262 w 5327262"/>
                <a:gd name="connsiteY15" fmla="*/ 203200 h 5080000"/>
                <a:gd name="connsiteX16" fmla="*/ 2101462 w 5327262"/>
                <a:gd name="connsiteY16" fmla="*/ 0 h 5080000"/>
                <a:gd name="connsiteX17" fmla="*/ 2787262 w 5327262"/>
                <a:gd name="connsiteY17" fmla="*/ 1727200 h 5080000"/>
                <a:gd name="connsiteX18" fmla="*/ 3041262 w 5327262"/>
                <a:gd name="connsiteY18" fmla="*/ 1930400 h 5080000"/>
                <a:gd name="connsiteX19" fmla="*/ 2838062 w 5327262"/>
                <a:gd name="connsiteY19" fmla="*/ 165100 h 5080000"/>
                <a:gd name="connsiteX20" fmla="*/ 3523862 w 5327262"/>
                <a:gd name="connsiteY20" fmla="*/ 38100 h 5080000"/>
                <a:gd name="connsiteX21" fmla="*/ 3777862 w 5327262"/>
                <a:gd name="connsiteY21" fmla="*/ 2235200 h 5080000"/>
                <a:gd name="connsiteX22" fmla="*/ 3904862 w 5327262"/>
                <a:gd name="connsiteY22" fmla="*/ 2425700 h 5080000"/>
                <a:gd name="connsiteX23" fmla="*/ 4285862 w 5327262"/>
                <a:gd name="connsiteY23" fmla="*/ 1638300 h 5080000"/>
                <a:gd name="connsiteX24" fmla="*/ 4704962 w 5327262"/>
                <a:gd name="connsiteY24" fmla="*/ 1155700 h 5080000"/>
                <a:gd name="connsiteX25" fmla="*/ 5149462 w 5327262"/>
                <a:gd name="connsiteY25" fmla="*/ 1193800 h 5080000"/>
                <a:gd name="connsiteX26" fmla="*/ 5327262 w 5327262"/>
                <a:gd name="connsiteY26" fmla="*/ 1358900 h 5080000"/>
                <a:gd name="connsiteX27" fmla="*/ 4895462 w 5327262"/>
                <a:gd name="connsiteY27" fmla="*/ 1841500 h 5080000"/>
                <a:gd name="connsiteX28" fmla="*/ 4247762 w 5327262"/>
                <a:gd name="connsiteY28" fmla="*/ 4140200 h 5080000"/>
                <a:gd name="connsiteX29" fmla="*/ 3866762 w 5327262"/>
                <a:gd name="connsiteY29" fmla="*/ 4686300 h 5080000"/>
                <a:gd name="connsiteX30" fmla="*/ 3244462 w 5327262"/>
                <a:gd name="connsiteY30" fmla="*/ 4991100 h 5080000"/>
                <a:gd name="connsiteX31" fmla="*/ 2888862 w 5327262"/>
                <a:gd name="connsiteY31" fmla="*/ 5080000 h 5080000"/>
                <a:gd name="connsiteX0" fmla="*/ 2888862 w 5327262"/>
                <a:gd name="connsiteY0" fmla="*/ 5080000 h 5080000"/>
                <a:gd name="connsiteX1" fmla="*/ 2888862 w 5327262"/>
                <a:gd name="connsiteY1" fmla="*/ 5080000 h 5080000"/>
                <a:gd name="connsiteX2" fmla="*/ 2236082 w 5327262"/>
                <a:gd name="connsiteY2" fmla="*/ 4965700 h 5080000"/>
                <a:gd name="connsiteX3" fmla="*/ 1644262 w 5327262"/>
                <a:gd name="connsiteY3" fmla="*/ 4457700 h 5080000"/>
                <a:gd name="connsiteX4" fmla="*/ 1209922 w 5327262"/>
                <a:gd name="connsiteY4" fmla="*/ 3512820 h 5080000"/>
                <a:gd name="connsiteX5" fmla="*/ 64382 w 5327262"/>
                <a:gd name="connsiteY5" fmla="*/ 1912620 h 5080000"/>
                <a:gd name="connsiteX6" fmla="*/ 432682 w 5327262"/>
                <a:gd name="connsiteY6" fmla="*/ 1470660 h 5080000"/>
                <a:gd name="connsiteX7" fmla="*/ 1288662 w 5327262"/>
                <a:gd name="connsiteY7" fmla="*/ 2628900 h 5080000"/>
                <a:gd name="connsiteX8" fmla="*/ 1491862 w 5327262"/>
                <a:gd name="connsiteY8" fmla="*/ 2730500 h 5080000"/>
                <a:gd name="connsiteX9" fmla="*/ 1529962 w 5327262"/>
                <a:gd name="connsiteY9" fmla="*/ 2641600 h 5080000"/>
                <a:gd name="connsiteX10" fmla="*/ 564762 w 5327262"/>
                <a:gd name="connsiteY10" fmla="*/ 838200 h 5080000"/>
                <a:gd name="connsiteX11" fmla="*/ 1237862 w 5327262"/>
                <a:gd name="connsiteY11" fmla="*/ 622300 h 5080000"/>
                <a:gd name="connsiteX12" fmla="*/ 1974462 w 5327262"/>
                <a:gd name="connsiteY12" fmla="*/ 2095500 h 5080000"/>
                <a:gd name="connsiteX13" fmla="*/ 2139562 w 5327262"/>
                <a:gd name="connsiteY13" fmla="*/ 2171700 h 5080000"/>
                <a:gd name="connsiteX14" fmla="*/ 2203062 w 5327262"/>
                <a:gd name="connsiteY14" fmla="*/ 1955800 h 5080000"/>
                <a:gd name="connsiteX15" fmla="*/ 1517262 w 5327262"/>
                <a:gd name="connsiteY15" fmla="*/ 203200 h 5080000"/>
                <a:gd name="connsiteX16" fmla="*/ 2101462 w 5327262"/>
                <a:gd name="connsiteY16" fmla="*/ 0 h 5080000"/>
                <a:gd name="connsiteX17" fmla="*/ 2787262 w 5327262"/>
                <a:gd name="connsiteY17" fmla="*/ 1727200 h 5080000"/>
                <a:gd name="connsiteX18" fmla="*/ 3041262 w 5327262"/>
                <a:gd name="connsiteY18" fmla="*/ 1930400 h 5080000"/>
                <a:gd name="connsiteX19" fmla="*/ 2838062 w 5327262"/>
                <a:gd name="connsiteY19" fmla="*/ 165100 h 5080000"/>
                <a:gd name="connsiteX20" fmla="*/ 3523862 w 5327262"/>
                <a:gd name="connsiteY20" fmla="*/ 38100 h 5080000"/>
                <a:gd name="connsiteX21" fmla="*/ 3777862 w 5327262"/>
                <a:gd name="connsiteY21" fmla="*/ 2235200 h 5080000"/>
                <a:gd name="connsiteX22" fmla="*/ 3904862 w 5327262"/>
                <a:gd name="connsiteY22" fmla="*/ 2425700 h 5080000"/>
                <a:gd name="connsiteX23" fmla="*/ 4285862 w 5327262"/>
                <a:gd name="connsiteY23" fmla="*/ 1638300 h 5080000"/>
                <a:gd name="connsiteX24" fmla="*/ 4704962 w 5327262"/>
                <a:gd name="connsiteY24" fmla="*/ 1155700 h 5080000"/>
                <a:gd name="connsiteX25" fmla="*/ 5149462 w 5327262"/>
                <a:gd name="connsiteY25" fmla="*/ 1193800 h 5080000"/>
                <a:gd name="connsiteX26" fmla="*/ 5327262 w 5327262"/>
                <a:gd name="connsiteY26" fmla="*/ 1358900 h 5080000"/>
                <a:gd name="connsiteX27" fmla="*/ 4895462 w 5327262"/>
                <a:gd name="connsiteY27" fmla="*/ 1841500 h 5080000"/>
                <a:gd name="connsiteX28" fmla="*/ 4247762 w 5327262"/>
                <a:gd name="connsiteY28" fmla="*/ 4140200 h 5080000"/>
                <a:gd name="connsiteX29" fmla="*/ 3866762 w 5327262"/>
                <a:gd name="connsiteY29" fmla="*/ 4686300 h 5080000"/>
                <a:gd name="connsiteX30" fmla="*/ 3244462 w 5327262"/>
                <a:gd name="connsiteY30" fmla="*/ 4991100 h 5080000"/>
                <a:gd name="connsiteX31" fmla="*/ 2888862 w 5327262"/>
                <a:gd name="connsiteY31" fmla="*/ 5080000 h 5080000"/>
                <a:gd name="connsiteX0" fmla="*/ 2918427 w 5356827"/>
                <a:gd name="connsiteY0" fmla="*/ 5080000 h 5080000"/>
                <a:gd name="connsiteX1" fmla="*/ 2918427 w 5356827"/>
                <a:gd name="connsiteY1" fmla="*/ 5080000 h 5080000"/>
                <a:gd name="connsiteX2" fmla="*/ 2265647 w 5356827"/>
                <a:gd name="connsiteY2" fmla="*/ 4965700 h 5080000"/>
                <a:gd name="connsiteX3" fmla="*/ 1673827 w 5356827"/>
                <a:gd name="connsiteY3" fmla="*/ 4457700 h 5080000"/>
                <a:gd name="connsiteX4" fmla="*/ 1239487 w 5356827"/>
                <a:gd name="connsiteY4" fmla="*/ 3512820 h 5080000"/>
                <a:gd name="connsiteX5" fmla="*/ 93947 w 5356827"/>
                <a:gd name="connsiteY5" fmla="*/ 1912620 h 5080000"/>
                <a:gd name="connsiteX6" fmla="*/ 462247 w 5356827"/>
                <a:gd name="connsiteY6" fmla="*/ 1470660 h 5080000"/>
                <a:gd name="connsiteX7" fmla="*/ 1318227 w 5356827"/>
                <a:gd name="connsiteY7" fmla="*/ 2628900 h 5080000"/>
                <a:gd name="connsiteX8" fmla="*/ 1521427 w 5356827"/>
                <a:gd name="connsiteY8" fmla="*/ 2730500 h 5080000"/>
                <a:gd name="connsiteX9" fmla="*/ 1559527 w 5356827"/>
                <a:gd name="connsiteY9" fmla="*/ 2641600 h 5080000"/>
                <a:gd name="connsiteX10" fmla="*/ 594327 w 5356827"/>
                <a:gd name="connsiteY10" fmla="*/ 838200 h 5080000"/>
                <a:gd name="connsiteX11" fmla="*/ 1267427 w 5356827"/>
                <a:gd name="connsiteY11" fmla="*/ 622300 h 5080000"/>
                <a:gd name="connsiteX12" fmla="*/ 2004027 w 5356827"/>
                <a:gd name="connsiteY12" fmla="*/ 2095500 h 5080000"/>
                <a:gd name="connsiteX13" fmla="*/ 2169127 w 5356827"/>
                <a:gd name="connsiteY13" fmla="*/ 2171700 h 5080000"/>
                <a:gd name="connsiteX14" fmla="*/ 2232627 w 5356827"/>
                <a:gd name="connsiteY14" fmla="*/ 1955800 h 5080000"/>
                <a:gd name="connsiteX15" fmla="*/ 1546827 w 5356827"/>
                <a:gd name="connsiteY15" fmla="*/ 203200 h 5080000"/>
                <a:gd name="connsiteX16" fmla="*/ 2131027 w 5356827"/>
                <a:gd name="connsiteY16" fmla="*/ 0 h 5080000"/>
                <a:gd name="connsiteX17" fmla="*/ 2816827 w 5356827"/>
                <a:gd name="connsiteY17" fmla="*/ 1727200 h 5080000"/>
                <a:gd name="connsiteX18" fmla="*/ 3070827 w 5356827"/>
                <a:gd name="connsiteY18" fmla="*/ 1930400 h 5080000"/>
                <a:gd name="connsiteX19" fmla="*/ 2867627 w 5356827"/>
                <a:gd name="connsiteY19" fmla="*/ 165100 h 5080000"/>
                <a:gd name="connsiteX20" fmla="*/ 3553427 w 5356827"/>
                <a:gd name="connsiteY20" fmla="*/ 38100 h 5080000"/>
                <a:gd name="connsiteX21" fmla="*/ 3807427 w 5356827"/>
                <a:gd name="connsiteY21" fmla="*/ 2235200 h 5080000"/>
                <a:gd name="connsiteX22" fmla="*/ 3934427 w 5356827"/>
                <a:gd name="connsiteY22" fmla="*/ 2425700 h 5080000"/>
                <a:gd name="connsiteX23" fmla="*/ 4315427 w 5356827"/>
                <a:gd name="connsiteY23" fmla="*/ 1638300 h 5080000"/>
                <a:gd name="connsiteX24" fmla="*/ 4734527 w 5356827"/>
                <a:gd name="connsiteY24" fmla="*/ 1155700 h 5080000"/>
                <a:gd name="connsiteX25" fmla="*/ 5179027 w 5356827"/>
                <a:gd name="connsiteY25" fmla="*/ 1193800 h 5080000"/>
                <a:gd name="connsiteX26" fmla="*/ 5356827 w 5356827"/>
                <a:gd name="connsiteY26" fmla="*/ 1358900 h 5080000"/>
                <a:gd name="connsiteX27" fmla="*/ 4925027 w 5356827"/>
                <a:gd name="connsiteY27" fmla="*/ 1841500 h 5080000"/>
                <a:gd name="connsiteX28" fmla="*/ 4277327 w 5356827"/>
                <a:gd name="connsiteY28" fmla="*/ 4140200 h 5080000"/>
                <a:gd name="connsiteX29" fmla="*/ 3896327 w 5356827"/>
                <a:gd name="connsiteY29" fmla="*/ 4686300 h 5080000"/>
                <a:gd name="connsiteX30" fmla="*/ 3274027 w 5356827"/>
                <a:gd name="connsiteY30" fmla="*/ 4991100 h 5080000"/>
                <a:gd name="connsiteX31" fmla="*/ 2918427 w 5356827"/>
                <a:gd name="connsiteY31" fmla="*/ 5080000 h 5080000"/>
                <a:gd name="connsiteX0" fmla="*/ 2850381 w 5288781"/>
                <a:gd name="connsiteY0" fmla="*/ 5080000 h 5080000"/>
                <a:gd name="connsiteX1" fmla="*/ 2850381 w 5288781"/>
                <a:gd name="connsiteY1" fmla="*/ 5080000 h 5080000"/>
                <a:gd name="connsiteX2" fmla="*/ 2197601 w 5288781"/>
                <a:gd name="connsiteY2" fmla="*/ 4965700 h 5080000"/>
                <a:gd name="connsiteX3" fmla="*/ 1605781 w 5288781"/>
                <a:gd name="connsiteY3" fmla="*/ 4457700 h 5080000"/>
                <a:gd name="connsiteX4" fmla="*/ 1171441 w 5288781"/>
                <a:gd name="connsiteY4" fmla="*/ 3512820 h 5080000"/>
                <a:gd name="connsiteX5" fmla="*/ 25901 w 5288781"/>
                <a:gd name="connsiteY5" fmla="*/ 1912620 h 5080000"/>
                <a:gd name="connsiteX6" fmla="*/ 455161 w 5288781"/>
                <a:gd name="connsiteY6" fmla="*/ 1463040 h 5080000"/>
                <a:gd name="connsiteX7" fmla="*/ 1250181 w 5288781"/>
                <a:gd name="connsiteY7" fmla="*/ 2628900 h 5080000"/>
                <a:gd name="connsiteX8" fmla="*/ 1453381 w 5288781"/>
                <a:gd name="connsiteY8" fmla="*/ 2730500 h 5080000"/>
                <a:gd name="connsiteX9" fmla="*/ 1491481 w 5288781"/>
                <a:gd name="connsiteY9" fmla="*/ 2641600 h 5080000"/>
                <a:gd name="connsiteX10" fmla="*/ 526281 w 5288781"/>
                <a:gd name="connsiteY10" fmla="*/ 838200 h 5080000"/>
                <a:gd name="connsiteX11" fmla="*/ 1199381 w 5288781"/>
                <a:gd name="connsiteY11" fmla="*/ 622300 h 5080000"/>
                <a:gd name="connsiteX12" fmla="*/ 1935981 w 5288781"/>
                <a:gd name="connsiteY12" fmla="*/ 2095500 h 5080000"/>
                <a:gd name="connsiteX13" fmla="*/ 2101081 w 5288781"/>
                <a:gd name="connsiteY13" fmla="*/ 2171700 h 5080000"/>
                <a:gd name="connsiteX14" fmla="*/ 2164581 w 5288781"/>
                <a:gd name="connsiteY14" fmla="*/ 1955800 h 5080000"/>
                <a:gd name="connsiteX15" fmla="*/ 1478781 w 5288781"/>
                <a:gd name="connsiteY15" fmla="*/ 203200 h 5080000"/>
                <a:gd name="connsiteX16" fmla="*/ 2062981 w 5288781"/>
                <a:gd name="connsiteY16" fmla="*/ 0 h 5080000"/>
                <a:gd name="connsiteX17" fmla="*/ 2748781 w 5288781"/>
                <a:gd name="connsiteY17" fmla="*/ 1727200 h 5080000"/>
                <a:gd name="connsiteX18" fmla="*/ 3002781 w 5288781"/>
                <a:gd name="connsiteY18" fmla="*/ 1930400 h 5080000"/>
                <a:gd name="connsiteX19" fmla="*/ 2799581 w 5288781"/>
                <a:gd name="connsiteY19" fmla="*/ 165100 h 5080000"/>
                <a:gd name="connsiteX20" fmla="*/ 3485381 w 5288781"/>
                <a:gd name="connsiteY20" fmla="*/ 38100 h 5080000"/>
                <a:gd name="connsiteX21" fmla="*/ 3739381 w 5288781"/>
                <a:gd name="connsiteY21" fmla="*/ 2235200 h 5080000"/>
                <a:gd name="connsiteX22" fmla="*/ 3866381 w 5288781"/>
                <a:gd name="connsiteY22" fmla="*/ 2425700 h 5080000"/>
                <a:gd name="connsiteX23" fmla="*/ 4247381 w 5288781"/>
                <a:gd name="connsiteY23" fmla="*/ 1638300 h 5080000"/>
                <a:gd name="connsiteX24" fmla="*/ 4666481 w 5288781"/>
                <a:gd name="connsiteY24" fmla="*/ 1155700 h 5080000"/>
                <a:gd name="connsiteX25" fmla="*/ 5110981 w 5288781"/>
                <a:gd name="connsiteY25" fmla="*/ 1193800 h 5080000"/>
                <a:gd name="connsiteX26" fmla="*/ 5288781 w 5288781"/>
                <a:gd name="connsiteY26" fmla="*/ 1358900 h 5080000"/>
                <a:gd name="connsiteX27" fmla="*/ 4856981 w 5288781"/>
                <a:gd name="connsiteY27" fmla="*/ 1841500 h 5080000"/>
                <a:gd name="connsiteX28" fmla="*/ 4209281 w 5288781"/>
                <a:gd name="connsiteY28" fmla="*/ 4140200 h 5080000"/>
                <a:gd name="connsiteX29" fmla="*/ 3828281 w 5288781"/>
                <a:gd name="connsiteY29" fmla="*/ 4686300 h 5080000"/>
                <a:gd name="connsiteX30" fmla="*/ 3205981 w 5288781"/>
                <a:gd name="connsiteY30" fmla="*/ 4991100 h 5080000"/>
                <a:gd name="connsiteX31" fmla="*/ 2850381 w 5288781"/>
                <a:gd name="connsiteY31" fmla="*/ 5080000 h 5080000"/>
                <a:gd name="connsiteX0" fmla="*/ 2914781 w 5353181"/>
                <a:gd name="connsiteY0" fmla="*/ 5080000 h 5080000"/>
                <a:gd name="connsiteX1" fmla="*/ 2914781 w 5353181"/>
                <a:gd name="connsiteY1" fmla="*/ 5080000 h 5080000"/>
                <a:gd name="connsiteX2" fmla="*/ 2262001 w 5353181"/>
                <a:gd name="connsiteY2" fmla="*/ 4965700 h 5080000"/>
                <a:gd name="connsiteX3" fmla="*/ 1670181 w 5353181"/>
                <a:gd name="connsiteY3" fmla="*/ 4457700 h 5080000"/>
                <a:gd name="connsiteX4" fmla="*/ 1235841 w 5353181"/>
                <a:gd name="connsiteY4" fmla="*/ 3512820 h 5080000"/>
                <a:gd name="connsiteX5" fmla="*/ 21721 w 5353181"/>
                <a:gd name="connsiteY5" fmla="*/ 1813560 h 5080000"/>
                <a:gd name="connsiteX6" fmla="*/ 519561 w 5353181"/>
                <a:gd name="connsiteY6" fmla="*/ 1463040 h 5080000"/>
                <a:gd name="connsiteX7" fmla="*/ 1314581 w 5353181"/>
                <a:gd name="connsiteY7" fmla="*/ 2628900 h 5080000"/>
                <a:gd name="connsiteX8" fmla="*/ 1517781 w 5353181"/>
                <a:gd name="connsiteY8" fmla="*/ 2730500 h 5080000"/>
                <a:gd name="connsiteX9" fmla="*/ 1555881 w 5353181"/>
                <a:gd name="connsiteY9" fmla="*/ 2641600 h 5080000"/>
                <a:gd name="connsiteX10" fmla="*/ 590681 w 5353181"/>
                <a:gd name="connsiteY10" fmla="*/ 838200 h 5080000"/>
                <a:gd name="connsiteX11" fmla="*/ 1263781 w 5353181"/>
                <a:gd name="connsiteY11" fmla="*/ 622300 h 5080000"/>
                <a:gd name="connsiteX12" fmla="*/ 2000381 w 5353181"/>
                <a:gd name="connsiteY12" fmla="*/ 2095500 h 5080000"/>
                <a:gd name="connsiteX13" fmla="*/ 2165481 w 5353181"/>
                <a:gd name="connsiteY13" fmla="*/ 2171700 h 5080000"/>
                <a:gd name="connsiteX14" fmla="*/ 2228981 w 5353181"/>
                <a:gd name="connsiteY14" fmla="*/ 1955800 h 5080000"/>
                <a:gd name="connsiteX15" fmla="*/ 1543181 w 5353181"/>
                <a:gd name="connsiteY15" fmla="*/ 203200 h 5080000"/>
                <a:gd name="connsiteX16" fmla="*/ 2127381 w 5353181"/>
                <a:gd name="connsiteY16" fmla="*/ 0 h 5080000"/>
                <a:gd name="connsiteX17" fmla="*/ 2813181 w 5353181"/>
                <a:gd name="connsiteY17" fmla="*/ 1727200 h 5080000"/>
                <a:gd name="connsiteX18" fmla="*/ 3067181 w 5353181"/>
                <a:gd name="connsiteY18" fmla="*/ 1930400 h 5080000"/>
                <a:gd name="connsiteX19" fmla="*/ 2863981 w 5353181"/>
                <a:gd name="connsiteY19" fmla="*/ 165100 h 5080000"/>
                <a:gd name="connsiteX20" fmla="*/ 3549781 w 5353181"/>
                <a:gd name="connsiteY20" fmla="*/ 38100 h 5080000"/>
                <a:gd name="connsiteX21" fmla="*/ 3803781 w 5353181"/>
                <a:gd name="connsiteY21" fmla="*/ 2235200 h 5080000"/>
                <a:gd name="connsiteX22" fmla="*/ 3930781 w 5353181"/>
                <a:gd name="connsiteY22" fmla="*/ 2425700 h 5080000"/>
                <a:gd name="connsiteX23" fmla="*/ 4311781 w 5353181"/>
                <a:gd name="connsiteY23" fmla="*/ 1638300 h 5080000"/>
                <a:gd name="connsiteX24" fmla="*/ 4730881 w 5353181"/>
                <a:gd name="connsiteY24" fmla="*/ 1155700 h 5080000"/>
                <a:gd name="connsiteX25" fmla="*/ 5175381 w 5353181"/>
                <a:gd name="connsiteY25" fmla="*/ 1193800 h 5080000"/>
                <a:gd name="connsiteX26" fmla="*/ 5353181 w 5353181"/>
                <a:gd name="connsiteY26" fmla="*/ 1358900 h 5080000"/>
                <a:gd name="connsiteX27" fmla="*/ 4921381 w 5353181"/>
                <a:gd name="connsiteY27" fmla="*/ 1841500 h 5080000"/>
                <a:gd name="connsiteX28" fmla="*/ 4273681 w 5353181"/>
                <a:gd name="connsiteY28" fmla="*/ 4140200 h 5080000"/>
                <a:gd name="connsiteX29" fmla="*/ 3892681 w 5353181"/>
                <a:gd name="connsiteY29" fmla="*/ 4686300 h 5080000"/>
                <a:gd name="connsiteX30" fmla="*/ 3270381 w 5353181"/>
                <a:gd name="connsiteY30" fmla="*/ 4991100 h 5080000"/>
                <a:gd name="connsiteX31" fmla="*/ 2914781 w 5353181"/>
                <a:gd name="connsiteY31" fmla="*/ 5080000 h 5080000"/>
                <a:gd name="connsiteX0" fmla="*/ 2926396 w 5364796"/>
                <a:gd name="connsiteY0" fmla="*/ 5080000 h 5080000"/>
                <a:gd name="connsiteX1" fmla="*/ 2926396 w 5364796"/>
                <a:gd name="connsiteY1" fmla="*/ 5080000 h 5080000"/>
                <a:gd name="connsiteX2" fmla="*/ 2273616 w 5364796"/>
                <a:gd name="connsiteY2" fmla="*/ 4965700 h 5080000"/>
                <a:gd name="connsiteX3" fmla="*/ 1681796 w 5364796"/>
                <a:gd name="connsiteY3" fmla="*/ 4457700 h 5080000"/>
                <a:gd name="connsiteX4" fmla="*/ 1247456 w 5364796"/>
                <a:gd name="connsiteY4" fmla="*/ 3512820 h 5080000"/>
                <a:gd name="connsiteX5" fmla="*/ 33336 w 5364796"/>
                <a:gd name="connsiteY5" fmla="*/ 1813560 h 5080000"/>
                <a:gd name="connsiteX6" fmla="*/ 531176 w 5364796"/>
                <a:gd name="connsiteY6" fmla="*/ 1463040 h 5080000"/>
                <a:gd name="connsiteX7" fmla="*/ 1326196 w 5364796"/>
                <a:gd name="connsiteY7" fmla="*/ 2628900 h 5080000"/>
                <a:gd name="connsiteX8" fmla="*/ 1529396 w 5364796"/>
                <a:gd name="connsiteY8" fmla="*/ 2730500 h 5080000"/>
                <a:gd name="connsiteX9" fmla="*/ 1567496 w 5364796"/>
                <a:gd name="connsiteY9" fmla="*/ 2641600 h 5080000"/>
                <a:gd name="connsiteX10" fmla="*/ 602296 w 5364796"/>
                <a:gd name="connsiteY10" fmla="*/ 838200 h 5080000"/>
                <a:gd name="connsiteX11" fmla="*/ 1275396 w 5364796"/>
                <a:gd name="connsiteY11" fmla="*/ 622300 h 5080000"/>
                <a:gd name="connsiteX12" fmla="*/ 2011996 w 5364796"/>
                <a:gd name="connsiteY12" fmla="*/ 2095500 h 5080000"/>
                <a:gd name="connsiteX13" fmla="*/ 2177096 w 5364796"/>
                <a:gd name="connsiteY13" fmla="*/ 2171700 h 5080000"/>
                <a:gd name="connsiteX14" fmla="*/ 2240596 w 5364796"/>
                <a:gd name="connsiteY14" fmla="*/ 1955800 h 5080000"/>
                <a:gd name="connsiteX15" fmla="*/ 1554796 w 5364796"/>
                <a:gd name="connsiteY15" fmla="*/ 203200 h 5080000"/>
                <a:gd name="connsiteX16" fmla="*/ 2138996 w 5364796"/>
                <a:gd name="connsiteY16" fmla="*/ 0 h 5080000"/>
                <a:gd name="connsiteX17" fmla="*/ 2824796 w 5364796"/>
                <a:gd name="connsiteY17" fmla="*/ 1727200 h 5080000"/>
                <a:gd name="connsiteX18" fmla="*/ 3078796 w 5364796"/>
                <a:gd name="connsiteY18" fmla="*/ 1930400 h 5080000"/>
                <a:gd name="connsiteX19" fmla="*/ 2875596 w 5364796"/>
                <a:gd name="connsiteY19" fmla="*/ 165100 h 5080000"/>
                <a:gd name="connsiteX20" fmla="*/ 3561396 w 5364796"/>
                <a:gd name="connsiteY20" fmla="*/ 38100 h 5080000"/>
                <a:gd name="connsiteX21" fmla="*/ 3815396 w 5364796"/>
                <a:gd name="connsiteY21" fmla="*/ 2235200 h 5080000"/>
                <a:gd name="connsiteX22" fmla="*/ 3942396 w 5364796"/>
                <a:gd name="connsiteY22" fmla="*/ 2425700 h 5080000"/>
                <a:gd name="connsiteX23" fmla="*/ 4323396 w 5364796"/>
                <a:gd name="connsiteY23" fmla="*/ 1638300 h 5080000"/>
                <a:gd name="connsiteX24" fmla="*/ 4742496 w 5364796"/>
                <a:gd name="connsiteY24" fmla="*/ 1155700 h 5080000"/>
                <a:gd name="connsiteX25" fmla="*/ 5186996 w 5364796"/>
                <a:gd name="connsiteY25" fmla="*/ 1193800 h 5080000"/>
                <a:gd name="connsiteX26" fmla="*/ 5364796 w 5364796"/>
                <a:gd name="connsiteY26" fmla="*/ 1358900 h 5080000"/>
                <a:gd name="connsiteX27" fmla="*/ 4932996 w 5364796"/>
                <a:gd name="connsiteY27" fmla="*/ 1841500 h 5080000"/>
                <a:gd name="connsiteX28" fmla="*/ 4285296 w 5364796"/>
                <a:gd name="connsiteY28" fmla="*/ 4140200 h 5080000"/>
                <a:gd name="connsiteX29" fmla="*/ 3904296 w 5364796"/>
                <a:gd name="connsiteY29" fmla="*/ 4686300 h 5080000"/>
                <a:gd name="connsiteX30" fmla="*/ 3281996 w 5364796"/>
                <a:gd name="connsiteY30" fmla="*/ 4991100 h 5080000"/>
                <a:gd name="connsiteX31" fmla="*/ 2926396 w 5364796"/>
                <a:gd name="connsiteY31" fmla="*/ 5080000 h 5080000"/>
                <a:gd name="connsiteX0" fmla="*/ 2909846 w 5348246"/>
                <a:gd name="connsiteY0" fmla="*/ 5080000 h 5080000"/>
                <a:gd name="connsiteX1" fmla="*/ 2909846 w 5348246"/>
                <a:gd name="connsiteY1" fmla="*/ 5080000 h 5080000"/>
                <a:gd name="connsiteX2" fmla="*/ 2257066 w 5348246"/>
                <a:gd name="connsiteY2" fmla="*/ 4965700 h 5080000"/>
                <a:gd name="connsiteX3" fmla="*/ 1665246 w 5348246"/>
                <a:gd name="connsiteY3" fmla="*/ 4457700 h 5080000"/>
                <a:gd name="connsiteX4" fmla="*/ 1124226 w 5348246"/>
                <a:gd name="connsiteY4" fmla="*/ 3436620 h 5080000"/>
                <a:gd name="connsiteX5" fmla="*/ 16786 w 5348246"/>
                <a:gd name="connsiteY5" fmla="*/ 1813560 h 5080000"/>
                <a:gd name="connsiteX6" fmla="*/ 514626 w 5348246"/>
                <a:gd name="connsiteY6" fmla="*/ 1463040 h 5080000"/>
                <a:gd name="connsiteX7" fmla="*/ 1309646 w 5348246"/>
                <a:gd name="connsiteY7" fmla="*/ 2628900 h 5080000"/>
                <a:gd name="connsiteX8" fmla="*/ 1512846 w 5348246"/>
                <a:gd name="connsiteY8" fmla="*/ 2730500 h 5080000"/>
                <a:gd name="connsiteX9" fmla="*/ 1550946 w 5348246"/>
                <a:gd name="connsiteY9" fmla="*/ 2641600 h 5080000"/>
                <a:gd name="connsiteX10" fmla="*/ 585746 w 5348246"/>
                <a:gd name="connsiteY10" fmla="*/ 838200 h 5080000"/>
                <a:gd name="connsiteX11" fmla="*/ 1258846 w 5348246"/>
                <a:gd name="connsiteY11" fmla="*/ 622300 h 5080000"/>
                <a:gd name="connsiteX12" fmla="*/ 1995446 w 5348246"/>
                <a:gd name="connsiteY12" fmla="*/ 2095500 h 5080000"/>
                <a:gd name="connsiteX13" fmla="*/ 2160546 w 5348246"/>
                <a:gd name="connsiteY13" fmla="*/ 2171700 h 5080000"/>
                <a:gd name="connsiteX14" fmla="*/ 2224046 w 5348246"/>
                <a:gd name="connsiteY14" fmla="*/ 1955800 h 5080000"/>
                <a:gd name="connsiteX15" fmla="*/ 1538246 w 5348246"/>
                <a:gd name="connsiteY15" fmla="*/ 203200 h 5080000"/>
                <a:gd name="connsiteX16" fmla="*/ 2122446 w 5348246"/>
                <a:gd name="connsiteY16" fmla="*/ 0 h 5080000"/>
                <a:gd name="connsiteX17" fmla="*/ 2808246 w 5348246"/>
                <a:gd name="connsiteY17" fmla="*/ 1727200 h 5080000"/>
                <a:gd name="connsiteX18" fmla="*/ 3062246 w 5348246"/>
                <a:gd name="connsiteY18" fmla="*/ 1930400 h 5080000"/>
                <a:gd name="connsiteX19" fmla="*/ 2859046 w 5348246"/>
                <a:gd name="connsiteY19" fmla="*/ 165100 h 5080000"/>
                <a:gd name="connsiteX20" fmla="*/ 3544846 w 5348246"/>
                <a:gd name="connsiteY20" fmla="*/ 38100 h 5080000"/>
                <a:gd name="connsiteX21" fmla="*/ 3798846 w 5348246"/>
                <a:gd name="connsiteY21" fmla="*/ 2235200 h 5080000"/>
                <a:gd name="connsiteX22" fmla="*/ 3925846 w 5348246"/>
                <a:gd name="connsiteY22" fmla="*/ 2425700 h 5080000"/>
                <a:gd name="connsiteX23" fmla="*/ 4306846 w 5348246"/>
                <a:gd name="connsiteY23" fmla="*/ 1638300 h 5080000"/>
                <a:gd name="connsiteX24" fmla="*/ 4725946 w 5348246"/>
                <a:gd name="connsiteY24" fmla="*/ 1155700 h 5080000"/>
                <a:gd name="connsiteX25" fmla="*/ 5170446 w 5348246"/>
                <a:gd name="connsiteY25" fmla="*/ 1193800 h 5080000"/>
                <a:gd name="connsiteX26" fmla="*/ 5348246 w 5348246"/>
                <a:gd name="connsiteY26" fmla="*/ 1358900 h 5080000"/>
                <a:gd name="connsiteX27" fmla="*/ 4916446 w 5348246"/>
                <a:gd name="connsiteY27" fmla="*/ 1841500 h 5080000"/>
                <a:gd name="connsiteX28" fmla="*/ 4268746 w 5348246"/>
                <a:gd name="connsiteY28" fmla="*/ 4140200 h 5080000"/>
                <a:gd name="connsiteX29" fmla="*/ 3887746 w 5348246"/>
                <a:gd name="connsiteY29" fmla="*/ 4686300 h 5080000"/>
                <a:gd name="connsiteX30" fmla="*/ 3265446 w 5348246"/>
                <a:gd name="connsiteY30" fmla="*/ 4991100 h 5080000"/>
                <a:gd name="connsiteX31" fmla="*/ 2909846 w 5348246"/>
                <a:gd name="connsiteY31" fmla="*/ 5080000 h 5080000"/>
                <a:gd name="connsiteX0" fmla="*/ 2909846 w 5348246"/>
                <a:gd name="connsiteY0" fmla="*/ 5080000 h 5080000"/>
                <a:gd name="connsiteX1" fmla="*/ 2909846 w 5348246"/>
                <a:gd name="connsiteY1" fmla="*/ 5080000 h 5080000"/>
                <a:gd name="connsiteX2" fmla="*/ 2257066 w 5348246"/>
                <a:gd name="connsiteY2" fmla="*/ 4965700 h 5080000"/>
                <a:gd name="connsiteX3" fmla="*/ 1665246 w 5348246"/>
                <a:gd name="connsiteY3" fmla="*/ 4457700 h 5080000"/>
                <a:gd name="connsiteX4" fmla="*/ 1124226 w 5348246"/>
                <a:gd name="connsiteY4" fmla="*/ 3436620 h 5080000"/>
                <a:gd name="connsiteX5" fmla="*/ 16786 w 5348246"/>
                <a:gd name="connsiteY5" fmla="*/ 1813560 h 5080000"/>
                <a:gd name="connsiteX6" fmla="*/ 514626 w 5348246"/>
                <a:gd name="connsiteY6" fmla="*/ 1463040 h 5080000"/>
                <a:gd name="connsiteX7" fmla="*/ 1309646 w 5348246"/>
                <a:gd name="connsiteY7" fmla="*/ 2628900 h 5080000"/>
                <a:gd name="connsiteX8" fmla="*/ 1512846 w 5348246"/>
                <a:gd name="connsiteY8" fmla="*/ 2730500 h 5080000"/>
                <a:gd name="connsiteX9" fmla="*/ 1550946 w 5348246"/>
                <a:gd name="connsiteY9" fmla="*/ 2641600 h 5080000"/>
                <a:gd name="connsiteX10" fmla="*/ 585746 w 5348246"/>
                <a:gd name="connsiteY10" fmla="*/ 838200 h 5080000"/>
                <a:gd name="connsiteX11" fmla="*/ 1258846 w 5348246"/>
                <a:gd name="connsiteY11" fmla="*/ 622300 h 5080000"/>
                <a:gd name="connsiteX12" fmla="*/ 1995446 w 5348246"/>
                <a:gd name="connsiteY12" fmla="*/ 2095500 h 5080000"/>
                <a:gd name="connsiteX13" fmla="*/ 2160546 w 5348246"/>
                <a:gd name="connsiteY13" fmla="*/ 2171700 h 5080000"/>
                <a:gd name="connsiteX14" fmla="*/ 2224046 w 5348246"/>
                <a:gd name="connsiteY14" fmla="*/ 1955800 h 5080000"/>
                <a:gd name="connsiteX15" fmla="*/ 1538246 w 5348246"/>
                <a:gd name="connsiteY15" fmla="*/ 203200 h 5080000"/>
                <a:gd name="connsiteX16" fmla="*/ 2122446 w 5348246"/>
                <a:gd name="connsiteY16" fmla="*/ 0 h 5080000"/>
                <a:gd name="connsiteX17" fmla="*/ 2808246 w 5348246"/>
                <a:gd name="connsiteY17" fmla="*/ 1727200 h 5080000"/>
                <a:gd name="connsiteX18" fmla="*/ 3062246 w 5348246"/>
                <a:gd name="connsiteY18" fmla="*/ 1930400 h 5080000"/>
                <a:gd name="connsiteX19" fmla="*/ 2859046 w 5348246"/>
                <a:gd name="connsiteY19" fmla="*/ 165100 h 5080000"/>
                <a:gd name="connsiteX20" fmla="*/ 3544846 w 5348246"/>
                <a:gd name="connsiteY20" fmla="*/ 38100 h 5080000"/>
                <a:gd name="connsiteX21" fmla="*/ 3798846 w 5348246"/>
                <a:gd name="connsiteY21" fmla="*/ 2235200 h 5080000"/>
                <a:gd name="connsiteX22" fmla="*/ 3925846 w 5348246"/>
                <a:gd name="connsiteY22" fmla="*/ 2425700 h 5080000"/>
                <a:gd name="connsiteX23" fmla="*/ 4306846 w 5348246"/>
                <a:gd name="connsiteY23" fmla="*/ 1638300 h 5080000"/>
                <a:gd name="connsiteX24" fmla="*/ 4725946 w 5348246"/>
                <a:gd name="connsiteY24" fmla="*/ 1155700 h 5080000"/>
                <a:gd name="connsiteX25" fmla="*/ 5170446 w 5348246"/>
                <a:gd name="connsiteY25" fmla="*/ 1193800 h 5080000"/>
                <a:gd name="connsiteX26" fmla="*/ 5348246 w 5348246"/>
                <a:gd name="connsiteY26" fmla="*/ 1358900 h 5080000"/>
                <a:gd name="connsiteX27" fmla="*/ 4916446 w 5348246"/>
                <a:gd name="connsiteY27" fmla="*/ 1841500 h 5080000"/>
                <a:gd name="connsiteX28" fmla="*/ 4268746 w 5348246"/>
                <a:gd name="connsiteY28" fmla="*/ 4140200 h 5080000"/>
                <a:gd name="connsiteX29" fmla="*/ 3887746 w 5348246"/>
                <a:gd name="connsiteY29" fmla="*/ 4686300 h 5080000"/>
                <a:gd name="connsiteX30" fmla="*/ 3265446 w 5348246"/>
                <a:gd name="connsiteY30" fmla="*/ 4991100 h 5080000"/>
                <a:gd name="connsiteX31" fmla="*/ 2909846 w 5348246"/>
                <a:gd name="connsiteY31" fmla="*/ 5080000 h 5080000"/>
                <a:gd name="connsiteX0" fmla="*/ 2909846 w 5348246"/>
                <a:gd name="connsiteY0" fmla="*/ 5080000 h 5080000"/>
                <a:gd name="connsiteX1" fmla="*/ 2909846 w 5348246"/>
                <a:gd name="connsiteY1" fmla="*/ 5080000 h 5080000"/>
                <a:gd name="connsiteX2" fmla="*/ 2257066 w 5348246"/>
                <a:gd name="connsiteY2" fmla="*/ 4965700 h 5080000"/>
                <a:gd name="connsiteX3" fmla="*/ 1665246 w 5348246"/>
                <a:gd name="connsiteY3" fmla="*/ 4457700 h 5080000"/>
                <a:gd name="connsiteX4" fmla="*/ 1124226 w 5348246"/>
                <a:gd name="connsiteY4" fmla="*/ 3436620 h 5080000"/>
                <a:gd name="connsiteX5" fmla="*/ 16786 w 5348246"/>
                <a:gd name="connsiteY5" fmla="*/ 1813560 h 5080000"/>
                <a:gd name="connsiteX6" fmla="*/ 514626 w 5348246"/>
                <a:gd name="connsiteY6" fmla="*/ 1463040 h 5080000"/>
                <a:gd name="connsiteX7" fmla="*/ 1309646 w 5348246"/>
                <a:gd name="connsiteY7" fmla="*/ 2628900 h 5080000"/>
                <a:gd name="connsiteX8" fmla="*/ 1512846 w 5348246"/>
                <a:gd name="connsiteY8" fmla="*/ 2730500 h 5080000"/>
                <a:gd name="connsiteX9" fmla="*/ 1550946 w 5348246"/>
                <a:gd name="connsiteY9" fmla="*/ 2641600 h 5080000"/>
                <a:gd name="connsiteX10" fmla="*/ 585746 w 5348246"/>
                <a:gd name="connsiteY10" fmla="*/ 838200 h 5080000"/>
                <a:gd name="connsiteX11" fmla="*/ 1258846 w 5348246"/>
                <a:gd name="connsiteY11" fmla="*/ 622300 h 5080000"/>
                <a:gd name="connsiteX12" fmla="*/ 1995446 w 5348246"/>
                <a:gd name="connsiteY12" fmla="*/ 2095500 h 5080000"/>
                <a:gd name="connsiteX13" fmla="*/ 2160546 w 5348246"/>
                <a:gd name="connsiteY13" fmla="*/ 2171700 h 5080000"/>
                <a:gd name="connsiteX14" fmla="*/ 2224046 w 5348246"/>
                <a:gd name="connsiteY14" fmla="*/ 1955800 h 5080000"/>
                <a:gd name="connsiteX15" fmla="*/ 1538246 w 5348246"/>
                <a:gd name="connsiteY15" fmla="*/ 203200 h 5080000"/>
                <a:gd name="connsiteX16" fmla="*/ 2122446 w 5348246"/>
                <a:gd name="connsiteY16" fmla="*/ 0 h 5080000"/>
                <a:gd name="connsiteX17" fmla="*/ 2808246 w 5348246"/>
                <a:gd name="connsiteY17" fmla="*/ 1727200 h 5080000"/>
                <a:gd name="connsiteX18" fmla="*/ 3062246 w 5348246"/>
                <a:gd name="connsiteY18" fmla="*/ 1930400 h 5080000"/>
                <a:gd name="connsiteX19" fmla="*/ 2859046 w 5348246"/>
                <a:gd name="connsiteY19" fmla="*/ 165100 h 5080000"/>
                <a:gd name="connsiteX20" fmla="*/ 3544846 w 5348246"/>
                <a:gd name="connsiteY20" fmla="*/ 38100 h 5080000"/>
                <a:gd name="connsiteX21" fmla="*/ 3798846 w 5348246"/>
                <a:gd name="connsiteY21" fmla="*/ 2235200 h 5080000"/>
                <a:gd name="connsiteX22" fmla="*/ 3925846 w 5348246"/>
                <a:gd name="connsiteY22" fmla="*/ 2425700 h 5080000"/>
                <a:gd name="connsiteX23" fmla="*/ 4306846 w 5348246"/>
                <a:gd name="connsiteY23" fmla="*/ 1638300 h 5080000"/>
                <a:gd name="connsiteX24" fmla="*/ 4725946 w 5348246"/>
                <a:gd name="connsiteY24" fmla="*/ 1155700 h 5080000"/>
                <a:gd name="connsiteX25" fmla="*/ 5170446 w 5348246"/>
                <a:gd name="connsiteY25" fmla="*/ 1193800 h 5080000"/>
                <a:gd name="connsiteX26" fmla="*/ 5348246 w 5348246"/>
                <a:gd name="connsiteY26" fmla="*/ 1358900 h 5080000"/>
                <a:gd name="connsiteX27" fmla="*/ 4916446 w 5348246"/>
                <a:gd name="connsiteY27" fmla="*/ 1841500 h 5080000"/>
                <a:gd name="connsiteX28" fmla="*/ 4268746 w 5348246"/>
                <a:gd name="connsiteY28" fmla="*/ 4140200 h 5080000"/>
                <a:gd name="connsiteX29" fmla="*/ 3887746 w 5348246"/>
                <a:gd name="connsiteY29" fmla="*/ 4686300 h 5080000"/>
                <a:gd name="connsiteX30" fmla="*/ 3265446 w 5348246"/>
                <a:gd name="connsiteY30" fmla="*/ 4991100 h 5080000"/>
                <a:gd name="connsiteX31" fmla="*/ 2909846 w 5348246"/>
                <a:gd name="connsiteY31" fmla="*/ 5080000 h 5080000"/>
                <a:gd name="connsiteX0" fmla="*/ 2909846 w 5348246"/>
                <a:gd name="connsiteY0" fmla="*/ 5080000 h 5080000"/>
                <a:gd name="connsiteX1" fmla="*/ 2909846 w 5348246"/>
                <a:gd name="connsiteY1" fmla="*/ 5080000 h 5080000"/>
                <a:gd name="connsiteX2" fmla="*/ 2257066 w 5348246"/>
                <a:gd name="connsiteY2" fmla="*/ 4965700 h 5080000"/>
                <a:gd name="connsiteX3" fmla="*/ 1665246 w 5348246"/>
                <a:gd name="connsiteY3" fmla="*/ 4457700 h 5080000"/>
                <a:gd name="connsiteX4" fmla="*/ 1124226 w 5348246"/>
                <a:gd name="connsiteY4" fmla="*/ 3436620 h 5080000"/>
                <a:gd name="connsiteX5" fmla="*/ 16786 w 5348246"/>
                <a:gd name="connsiteY5" fmla="*/ 1813560 h 5080000"/>
                <a:gd name="connsiteX6" fmla="*/ 514626 w 5348246"/>
                <a:gd name="connsiteY6" fmla="*/ 1463040 h 5080000"/>
                <a:gd name="connsiteX7" fmla="*/ 1309646 w 5348246"/>
                <a:gd name="connsiteY7" fmla="*/ 2628900 h 5080000"/>
                <a:gd name="connsiteX8" fmla="*/ 1512846 w 5348246"/>
                <a:gd name="connsiteY8" fmla="*/ 2730500 h 5080000"/>
                <a:gd name="connsiteX9" fmla="*/ 1550946 w 5348246"/>
                <a:gd name="connsiteY9" fmla="*/ 2641600 h 5080000"/>
                <a:gd name="connsiteX10" fmla="*/ 585746 w 5348246"/>
                <a:gd name="connsiteY10" fmla="*/ 838200 h 5080000"/>
                <a:gd name="connsiteX11" fmla="*/ 1258846 w 5348246"/>
                <a:gd name="connsiteY11" fmla="*/ 622300 h 5080000"/>
                <a:gd name="connsiteX12" fmla="*/ 1995446 w 5348246"/>
                <a:gd name="connsiteY12" fmla="*/ 2095500 h 5080000"/>
                <a:gd name="connsiteX13" fmla="*/ 2160546 w 5348246"/>
                <a:gd name="connsiteY13" fmla="*/ 2171700 h 5080000"/>
                <a:gd name="connsiteX14" fmla="*/ 2224046 w 5348246"/>
                <a:gd name="connsiteY14" fmla="*/ 1955800 h 5080000"/>
                <a:gd name="connsiteX15" fmla="*/ 1538246 w 5348246"/>
                <a:gd name="connsiteY15" fmla="*/ 203200 h 5080000"/>
                <a:gd name="connsiteX16" fmla="*/ 2122446 w 5348246"/>
                <a:gd name="connsiteY16" fmla="*/ 0 h 5080000"/>
                <a:gd name="connsiteX17" fmla="*/ 2808246 w 5348246"/>
                <a:gd name="connsiteY17" fmla="*/ 1727200 h 5080000"/>
                <a:gd name="connsiteX18" fmla="*/ 3062246 w 5348246"/>
                <a:gd name="connsiteY18" fmla="*/ 1930400 h 5080000"/>
                <a:gd name="connsiteX19" fmla="*/ 2859046 w 5348246"/>
                <a:gd name="connsiteY19" fmla="*/ 165100 h 5080000"/>
                <a:gd name="connsiteX20" fmla="*/ 3544846 w 5348246"/>
                <a:gd name="connsiteY20" fmla="*/ 38100 h 5080000"/>
                <a:gd name="connsiteX21" fmla="*/ 3798846 w 5348246"/>
                <a:gd name="connsiteY21" fmla="*/ 2235200 h 5080000"/>
                <a:gd name="connsiteX22" fmla="*/ 3925846 w 5348246"/>
                <a:gd name="connsiteY22" fmla="*/ 2425700 h 5080000"/>
                <a:gd name="connsiteX23" fmla="*/ 4306846 w 5348246"/>
                <a:gd name="connsiteY23" fmla="*/ 1638300 h 5080000"/>
                <a:gd name="connsiteX24" fmla="*/ 4725946 w 5348246"/>
                <a:gd name="connsiteY24" fmla="*/ 1155700 h 5080000"/>
                <a:gd name="connsiteX25" fmla="*/ 5170446 w 5348246"/>
                <a:gd name="connsiteY25" fmla="*/ 1193800 h 5080000"/>
                <a:gd name="connsiteX26" fmla="*/ 5348246 w 5348246"/>
                <a:gd name="connsiteY26" fmla="*/ 1358900 h 5080000"/>
                <a:gd name="connsiteX27" fmla="*/ 4916446 w 5348246"/>
                <a:gd name="connsiteY27" fmla="*/ 1841500 h 5080000"/>
                <a:gd name="connsiteX28" fmla="*/ 4268746 w 5348246"/>
                <a:gd name="connsiteY28" fmla="*/ 4140200 h 5080000"/>
                <a:gd name="connsiteX29" fmla="*/ 3887746 w 5348246"/>
                <a:gd name="connsiteY29" fmla="*/ 4686300 h 5080000"/>
                <a:gd name="connsiteX30" fmla="*/ 3265446 w 5348246"/>
                <a:gd name="connsiteY30" fmla="*/ 4991100 h 5080000"/>
                <a:gd name="connsiteX31" fmla="*/ 2909846 w 5348246"/>
                <a:gd name="connsiteY31" fmla="*/ 5080000 h 5080000"/>
                <a:gd name="connsiteX0" fmla="*/ 2909846 w 5348246"/>
                <a:gd name="connsiteY0" fmla="*/ 5080000 h 5080000"/>
                <a:gd name="connsiteX1" fmla="*/ 2909846 w 5348246"/>
                <a:gd name="connsiteY1" fmla="*/ 5080000 h 5080000"/>
                <a:gd name="connsiteX2" fmla="*/ 2257066 w 5348246"/>
                <a:gd name="connsiteY2" fmla="*/ 4965700 h 5080000"/>
                <a:gd name="connsiteX3" fmla="*/ 1665246 w 5348246"/>
                <a:gd name="connsiteY3" fmla="*/ 4457700 h 5080000"/>
                <a:gd name="connsiteX4" fmla="*/ 1124226 w 5348246"/>
                <a:gd name="connsiteY4" fmla="*/ 3436620 h 5080000"/>
                <a:gd name="connsiteX5" fmla="*/ 16786 w 5348246"/>
                <a:gd name="connsiteY5" fmla="*/ 1813560 h 5080000"/>
                <a:gd name="connsiteX6" fmla="*/ 514626 w 5348246"/>
                <a:gd name="connsiteY6" fmla="*/ 1463040 h 5080000"/>
                <a:gd name="connsiteX7" fmla="*/ 1309646 w 5348246"/>
                <a:gd name="connsiteY7" fmla="*/ 2628900 h 5080000"/>
                <a:gd name="connsiteX8" fmla="*/ 1512846 w 5348246"/>
                <a:gd name="connsiteY8" fmla="*/ 2730500 h 5080000"/>
                <a:gd name="connsiteX9" fmla="*/ 1550946 w 5348246"/>
                <a:gd name="connsiteY9" fmla="*/ 2641600 h 5080000"/>
                <a:gd name="connsiteX10" fmla="*/ 585746 w 5348246"/>
                <a:gd name="connsiteY10" fmla="*/ 838200 h 5080000"/>
                <a:gd name="connsiteX11" fmla="*/ 1258846 w 5348246"/>
                <a:gd name="connsiteY11" fmla="*/ 622300 h 5080000"/>
                <a:gd name="connsiteX12" fmla="*/ 1995446 w 5348246"/>
                <a:gd name="connsiteY12" fmla="*/ 2095500 h 5080000"/>
                <a:gd name="connsiteX13" fmla="*/ 2224046 w 5348246"/>
                <a:gd name="connsiteY13" fmla="*/ 1955800 h 5080000"/>
                <a:gd name="connsiteX14" fmla="*/ 1538246 w 5348246"/>
                <a:gd name="connsiteY14" fmla="*/ 203200 h 5080000"/>
                <a:gd name="connsiteX15" fmla="*/ 2122446 w 5348246"/>
                <a:gd name="connsiteY15" fmla="*/ 0 h 5080000"/>
                <a:gd name="connsiteX16" fmla="*/ 2808246 w 5348246"/>
                <a:gd name="connsiteY16" fmla="*/ 1727200 h 5080000"/>
                <a:gd name="connsiteX17" fmla="*/ 3062246 w 5348246"/>
                <a:gd name="connsiteY17" fmla="*/ 1930400 h 5080000"/>
                <a:gd name="connsiteX18" fmla="*/ 2859046 w 5348246"/>
                <a:gd name="connsiteY18" fmla="*/ 165100 h 5080000"/>
                <a:gd name="connsiteX19" fmla="*/ 3544846 w 5348246"/>
                <a:gd name="connsiteY19" fmla="*/ 38100 h 5080000"/>
                <a:gd name="connsiteX20" fmla="*/ 3798846 w 5348246"/>
                <a:gd name="connsiteY20" fmla="*/ 2235200 h 5080000"/>
                <a:gd name="connsiteX21" fmla="*/ 3925846 w 5348246"/>
                <a:gd name="connsiteY21" fmla="*/ 2425700 h 5080000"/>
                <a:gd name="connsiteX22" fmla="*/ 4306846 w 5348246"/>
                <a:gd name="connsiteY22" fmla="*/ 1638300 h 5080000"/>
                <a:gd name="connsiteX23" fmla="*/ 4725946 w 5348246"/>
                <a:gd name="connsiteY23" fmla="*/ 1155700 h 5080000"/>
                <a:gd name="connsiteX24" fmla="*/ 5170446 w 5348246"/>
                <a:gd name="connsiteY24" fmla="*/ 1193800 h 5080000"/>
                <a:gd name="connsiteX25" fmla="*/ 5348246 w 5348246"/>
                <a:gd name="connsiteY25" fmla="*/ 1358900 h 5080000"/>
                <a:gd name="connsiteX26" fmla="*/ 4916446 w 5348246"/>
                <a:gd name="connsiteY26" fmla="*/ 1841500 h 5080000"/>
                <a:gd name="connsiteX27" fmla="*/ 4268746 w 5348246"/>
                <a:gd name="connsiteY27" fmla="*/ 4140200 h 5080000"/>
                <a:gd name="connsiteX28" fmla="*/ 3887746 w 5348246"/>
                <a:gd name="connsiteY28" fmla="*/ 4686300 h 5080000"/>
                <a:gd name="connsiteX29" fmla="*/ 3265446 w 5348246"/>
                <a:gd name="connsiteY29" fmla="*/ 4991100 h 5080000"/>
                <a:gd name="connsiteX30" fmla="*/ 2909846 w 5348246"/>
                <a:gd name="connsiteY30" fmla="*/ 5080000 h 5080000"/>
                <a:gd name="connsiteX0" fmla="*/ 2909846 w 5348246"/>
                <a:gd name="connsiteY0" fmla="*/ 5080000 h 5080000"/>
                <a:gd name="connsiteX1" fmla="*/ 2909846 w 5348246"/>
                <a:gd name="connsiteY1" fmla="*/ 5080000 h 5080000"/>
                <a:gd name="connsiteX2" fmla="*/ 2257066 w 5348246"/>
                <a:gd name="connsiteY2" fmla="*/ 4965700 h 5080000"/>
                <a:gd name="connsiteX3" fmla="*/ 1665246 w 5348246"/>
                <a:gd name="connsiteY3" fmla="*/ 4457700 h 5080000"/>
                <a:gd name="connsiteX4" fmla="*/ 1124226 w 5348246"/>
                <a:gd name="connsiteY4" fmla="*/ 3436620 h 5080000"/>
                <a:gd name="connsiteX5" fmla="*/ 16786 w 5348246"/>
                <a:gd name="connsiteY5" fmla="*/ 1813560 h 5080000"/>
                <a:gd name="connsiteX6" fmla="*/ 514626 w 5348246"/>
                <a:gd name="connsiteY6" fmla="*/ 1463040 h 5080000"/>
                <a:gd name="connsiteX7" fmla="*/ 1309646 w 5348246"/>
                <a:gd name="connsiteY7" fmla="*/ 2628900 h 5080000"/>
                <a:gd name="connsiteX8" fmla="*/ 1512846 w 5348246"/>
                <a:gd name="connsiteY8" fmla="*/ 2730500 h 5080000"/>
                <a:gd name="connsiteX9" fmla="*/ 1550946 w 5348246"/>
                <a:gd name="connsiteY9" fmla="*/ 2641600 h 5080000"/>
                <a:gd name="connsiteX10" fmla="*/ 585746 w 5348246"/>
                <a:gd name="connsiteY10" fmla="*/ 838200 h 5080000"/>
                <a:gd name="connsiteX11" fmla="*/ 1258846 w 5348246"/>
                <a:gd name="connsiteY11" fmla="*/ 622300 h 5080000"/>
                <a:gd name="connsiteX12" fmla="*/ 1995446 w 5348246"/>
                <a:gd name="connsiteY12" fmla="*/ 2095500 h 5080000"/>
                <a:gd name="connsiteX13" fmla="*/ 2224046 w 5348246"/>
                <a:gd name="connsiteY13" fmla="*/ 1955800 h 5080000"/>
                <a:gd name="connsiteX14" fmla="*/ 1538246 w 5348246"/>
                <a:gd name="connsiteY14" fmla="*/ 203200 h 5080000"/>
                <a:gd name="connsiteX15" fmla="*/ 2122446 w 5348246"/>
                <a:gd name="connsiteY15" fmla="*/ 0 h 5080000"/>
                <a:gd name="connsiteX16" fmla="*/ 2861586 w 5348246"/>
                <a:gd name="connsiteY16" fmla="*/ 1887220 h 5080000"/>
                <a:gd name="connsiteX17" fmla="*/ 3062246 w 5348246"/>
                <a:gd name="connsiteY17" fmla="*/ 1930400 h 5080000"/>
                <a:gd name="connsiteX18" fmla="*/ 2859046 w 5348246"/>
                <a:gd name="connsiteY18" fmla="*/ 165100 h 5080000"/>
                <a:gd name="connsiteX19" fmla="*/ 3544846 w 5348246"/>
                <a:gd name="connsiteY19" fmla="*/ 38100 h 5080000"/>
                <a:gd name="connsiteX20" fmla="*/ 3798846 w 5348246"/>
                <a:gd name="connsiteY20" fmla="*/ 2235200 h 5080000"/>
                <a:gd name="connsiteX21" fmla="*/ 3925846 w 5348246"/>
                <a:gd name="connsiteY21" fmla="*/ 2425700 h 5080000"/>
                <a:gd name="connsiteX22" fmla="*/ 4306846 w 5348246"/>
                <a:gd name="connsiteY22" fmla="*/ 1638300 h 5080000"/>
                <a:gd name="connsiteX23" fmla="*/ 4725946 w 5348246"/>
                <a:gd name="connsiteY23" fmla="*/ 1155700 h 5080000"/>
                <a:gd name="connsiteX24" fmla="*/ 5170446 w 5348246"/>
                <a:gd name="connsiteY24" fmla="*/ 1193800 h 5080000"/>
                <a:gd name="connsiteX25" fmla="*/ 5348246 w 5348246"/>
                <a:gd name="connsiteY25" fmla="*/ 1358900 h 5080000"/>
                <a:gd name="connsiteX26" fmla="*/ 4916446 w 5348246"/>
                <a:gd name="connsiteY26" fmla="*/ 1841500 h 5080000"/>
                <a:gd name="connsiteX27" fmla="*/ 4268746 w 5348246"/>
                <a:gd name="connsiteY27" fmla="*/ 4140200 h 5080000"/>
                <a:gd name="connsiteX28" fmla="*/ 3887746 w 5348246"/>
                <a:gd name="connsiteY28" fmla="*/ 4686300 h 5080000"/>
                <a:gd name="connsiteX29" fmla="*/ 3265446 w 5348246"/>
                <a:gd name="connsiteY29" fmla="*/ 4991100 h 5080000"/>
                <a:gd name="connsiteX30" fmla="*/ 2909846 w 5348246"/>
                <a:gd name="connsiteY30" fmla="*/ 5080000 h 5080000"/>
                <a:gd name="connsiteX0" fmla="*/ 2909846 w 5348246"/>
                <a:gd name="connsiteY0" fmla="*/ 5080000 h 5080000"/>
                <a:gd name="connsiteX1" fmla="*/ 2909846 w 5348246"/>
                <a:gd name="connsiteY1" fmla="*/ 5080000 h 5080000"/>
                <a:gd name="connsiteX2" fmla="*/ 2257066 w 5348246"/>
                <a:gd name="connsiteY2" fmla="*/ 4965700 h 5080000"/>
                <a:gd name="connsiteX3" fmla="*/ 1665246 w 5348246"/>
                <a:gd name="connsiteY3" fmla="*/ 4457700 h 5080000"/>
                <a:gd name="connsiteX4" fmla="*/ 1124226 w 5348246"/>
                <a:gd name="connsiteY4" fmla="*/ 3436620 h 5080000"/>
                <a:gd name="connsiteX5" fmla="*/ 16786 w 5348246"/>
                <a:gd name="connsiteY5" fmla="*/ 1813560 h 5080000"/>
                <a:gd name="connsiteX6" fmla="*/ 514626 w 5348246"/>
                <a:gd name="connsiteY6" fmla="*/ 1463040 h 5080000"/>
                <a:gd name="connsiteX7" fmla="*/ 1309646 w 5348246"/>
                <a:gd name="connsiteY7" fmla="*/ 2628900 h 5080000"/>
                <a:gd name="connsiteX8" fmla="*/ 1512846 w 5348246"/>
                <a:gd name="connsiteY8" fmla="*/ 2730500 h 5080000"/>
                <a:gd name="connsiteX9" fmla="*/ 1550946 w 5348246"/>
                <a:gd name="connsiteY9" fmla="*/ 2641600 h 5080000"/>
                <a:gd name="connsiteX10" fmla="*/ 585746 w 5348246"/>
                <a:gd name="connsiteY10" fmla="*/ 838200 h 5080000"/>
                <a:gd name="connsiteX11" fmla="*/ 1258846 w 5348246"/>
                <a:gd name="connsiteY11" fmla="*/ 622300 h 5080000"/>
                <a:gd name="connsiteX12" fmla="*/ 1995446 w 5348246"/>
                <a:gd name="connsiteY12" fmla="*/ 2095500 h 5080000"/>
                <a:gd name="connsiteX13" fmla="*/ 2224046 w 5348246"/>
                <a:gd name="connsiteY13" fmla="*/ 1955800 h 5080000"/>
                <a:gd name="connsiteX14" fmla="*/ 1538246 w 5348246"/>
                <a:gd name="connsiteY14" fmla="*/ 203200 h 5080000"/>
                <a:gd name="connsiteX15" fmla="*/ 2122446 w 5348246"/>
                <a:gd name="connsiteY15" fmla="*/ 0 h 5080000"/>
                <a:gd name="connsiteX16" fmla="*/ 2861586 w 5348246"/>
                <a:gd name="connsiteY16" fmla="*/ 1887220 h 5080000"/>
                <a:gd name="connsiteX17" fmla="*/ 3062246 w 5348246"/>
                <a:gd name="connsiteY17" fmla="*/ 1930400 h 5080000"/>
                <a:gd name="connsiteX18" fmla="*/ 2859046 w 5348246"/>
                <a:gd name="connsiteY18" fmla="*/ 165100 h 5080000"/>
                <a:gd name="connsiteX19" fmla="*/ 3544846 w 5348246"/>
                <a:gd name="connsiteY19" fmla="*/ 38100 h 5080000"/>
                <a:gd name="connsiteX20" fmla="*/ 3798846 w 5348246"/>
                <a:gd name="connsiteY20" fmla="*/ 2235200 h 5080000"/>
                <a:gd name="connsiteX21" fmla="*/ 3925846 w 5348246"/>
                <a:gd name="connsiteY21" fmla="*/ 2425700 h 5080000"/>
                <a:gd name="connsiteX22" fmla="*/ 4306846 w 5348246"/>
                <a:gd name="connsiteY22" fmla="*/ 1638300 h 5080000"/>
                <a:gd name="connsiteX23" fmla="*/ 4725946 w 5348246"/>
                <a:gd name="connsiteY23" fmla="*/ 1155700 h 5080000"/>
                <a:gd name="connsiteX24" fmla="*/ 5170446 w 5348246"/>
                <a:gd name="connsiteY24" fmla="*/ 1193800 h 5080000"/>
                <a:gd name="connsiteX25" fmla="*/ 5348246 w 5348246"/>
                <a:gd name="connsiteY25" fmla="*/ 1358900 h 5080000"/>
                <a:gd name="connsiteX26" fmla="*/ 4916446 w 5348246"/>
                <a:gd name="connsiteY26" fmla="*/ 1841500 h 5080000"/>
                <a:gd name="connsiteX27" fmla="*/ 4268746 w 5348246"/>
                <a:gd name="connsiteY27" fmla="*/ 4140200 h 5080000"/>
                <a:gd name="connsiteX28" fmla="*/ 3887746 w 5348246"/>
                <a:gd name="connsiteY28" fmla="*/ 4686300 h 5080000"/>
                <a:gd name="connsiteX29" fmla="*/ 3265446 w 5348246"/>
                <a:gd name="connsiteY29" fmla="*/ 4991100 h 5080000"/>
                <a:gd name="connsiteX30" fmla="*/ 2909846 w 5348246"/>
                <a:gd name="connsiteY30" fmla="*/ 5080000 h 5080000"/>
                <a:gd name="connsiteX0" fmla="*/ 2909846 w 5348246"/>
                <a:gd name="connsiteY0" fmla="*/ 5080000 h 5080000"/>
                <a:gd name="connsiteX1" fmla="*/ 2909846 w 5348246"/>
                <a:gd name="connsiteY1" fmla="*/ 5080000 h 5080000"/>
                <a:gd name="connsiteX2" fmla="*/ 2257066 w 5348246"/>
                <a:gd name="connsiteY2" fmla="*/ 4965700 h 5080000"/>
                <a:gd name="connsiteX3" fmla="*/ 1665246 w 5348246"/>
                <a:gd name="connsiteY3" fmla="*/ 4457700 h 5080000"/>
                <a:gd name="connsiteX4" fmla="*/ 1124226 w 5348246"/>
                <a:gd name="connsiteY4" fmla="*/ 3436620 h 5080000"/>
                <a:gd name="connsiteX5" fmla="*/ 16786 w 5348246"/>
                <a:gd name="connsiteY5" fmla="*/ 1813560 h 5080000"/>
                <a:gd name="connsiteX6" fmla="*/ 514626 w 5348246"/>
                <a:gd name="connsiteY6" fmla="*/ 1463040 h 5080000"/>
                <a:gd name="connsiteX7" fmla="*/ 1309646 w 5348246"/>
                <a:gd name="connsiteY7" fmla="*/ 2628900 h 5080000"/>
                <a:gd name="connsiteX8" fmla="*/ 1512846 w 5348246"/>
                <a:gd name="connsiteY8" fmla="*/ 2730500 h 5080000"/>
                <a:gd name="connsiteX9" fmla="*/ 1550946 w 5348246"/>
                <a:gd name="connsiteY9" fmla="*/ 2641600 h 5080000"/>
                <a:gd name="connsiteX10" fmla="*/ 585746 w 5348246"/>
                <a:gd name="connsiteY10" fmla="*/ 838200 h 5080000"/>
                <a:gd name="connsiteX11" fmla="*/ 1258846 w 5348246"/>
                <a:gd name="connsiteY11" fmla="*/ 622300 h 5080000"/>
                <a:gd name="connsiteX12" fmla="*/ 1995446 w 5348246"/>
                <a:gd name="connsiteY12" fmla="*/ 2095500 h 5080000"/>
                <a:gd name="connsiteX13" fmla="*/ 2224046 w 5348246"/>
                <a:gd name="connsiteY13" fmla="*/ 1955800 h 5080000"/>
                <a:gd name="connsiteX14" fmla="*/ 1538246 w 5348246"/>
                <a:gd name="connsiteY14" fmla="*/ 203200 h 5080000"/>
                <a:gd name="connsiteX15" fmla="*/ 2122446 w 5348246"/>
                <a:gd name="connsiteY15" fmla="*/ 0 h 5080000"/>
                <a:gd name="connsiteX16" fmla="*/ 2861586 w 5348246"/>
                <a:gd name="connsiteY16" fmla="*/ 1887220 h 5080000"/>
                <a:gd name="connsiteX17" fmla="*/ 3062246 w 5348246"/>
                <a:gd name="connsiteY17" fmla="*/ 1930400 h 5080000"/>
                <a:gd name="connsiteX18" fmla="*/ 2859046 w 5348246"/>
                <a:gd name="connsiteY18" fmla="*/ 165100 h 5080000"/>
                <a:gd name="connsiteX19" fmla="*/ 3544846 w 5348246"/>
                <a:gd name="connsiteY19" fmla="*/ 38100 h 5080000"/>
                <a:gd name="connsiteX20" fmla="*/ 3798846 w 5348246"/>
                <a:gd name="connsiteY20" fmla="*/ 2235200 h 5080000"/>
                <a:gd name="connsiteX21" fmla="*/ 3925846 w 5348246"/>
                <a:gd name="connsiteY21" fmla="*/ 2425700 h 5080000"/>
                <a:gd name="connsiteX22" fmla="*/ 4306846 w 5348246"/>
                <a:gd name="connsiteY22" fmla="*/ 1638300 h 5080000"/>
                <a:gd name="connsiteX23" fmla="*/ 4725946 w 5348246"/>
                <a:gd name="connsiteY23" fmla="*/ 1155700 h 5080000"/>
                <a:gd name="connsiteX24" fmla="*/ 5170446 w 5348246"/>
                <a:gd name="connsiteY24" fmla="*/ 1193800 h 5080000"/>
                <a:gd name="connsiteX25" fmla="*/ 5348246 w 5348246"/>
                <a:gd name="connsiteY25" fmla="*/ 1358900 h 5080000"/>
                <a:gd name="connsiteX26" fmla="*/ 4916446 w 5348246"/>
                <a:gd name="connsiteY26" fmla="*/ 1841500 h 5080000"/>
                <a:gd name="connsiteX27" fmla="*/ 4268746 w 5348246"/>
                <a:gd name="connsiteY27" fmla="*/ 4140200 h 5080000"/>
                <a:gd name="connsiteX28" fmla="*/ 3887746 w 5348246"/>
                <a:gd name="connsiteY28" fmla="*/ 4686300 h 5080000"/>
                <a:gd name="connsiteX29" fmla="*/ 3265446 w 5348246"/>
                <a:gd name="connsiteY29" fmla="*/ 4991100 h 5080000"/>
                <a:gd name="connsiteX30" fmla="*/ 2909846 w 5348246"/>
                <a:gd name="connsiteY30" fmla="*/ 5080000 h 5080000"/>
                <a:gd name="connsiteX0" fmla="*/ 2909846 w 5348246"/>
                <a:gd name="connsiteY0" fmla="*/ 5080000 h 5080000"/>
                <a:gd name="connsiteX1" fmla="*/ 2909846 w 5348246"/>
                <a:gd name="connsiteY1" fmla="*/ 5080000 h 5080000"/>
                <a:gd name="connsiteX2" fmla="*/ 2257066 w 5348246"/>
                <a:gd name="connsiteY2" fmla="*/ 4965700 h 5080000"/>
                <a:gd name="connsiteX3" fmla="*/ 1665246 w 5348246"/>
                <a:gd name="connsiteY3" fmla="*/ 4457700 h 5080000"/>
                <a:gd name="connsiteX4" fmla="*/ 1124226 w 5348246"/>
                <a:gd name="connsiteY4" fmla="*/ 3436620 h 5080000"/>
                <a:gd name="connsiteX5" fmla="*/ 16786 w 5348246"/>
                <a:gd name="connsiteY5" fmla="*/ 1813560 h 5080000"/>
                <a:gd name="connsiteX6" fmla="*/ 514626 w 5348246"/>
                <a:gd name="connsiteY6" fmla="*/ 1463040 h 5080000"/>
                <a:gd name="connsiteX7" fmla="*/ 1309646 w 5348246"/>
                <a:gd name="connsiteY7" fmla="*/ 2628900 h 5080000"/>
                <a:gd name="connsiteX8" fmla="*/ 1512846 w 5348246"/>
                <a:gd name="connsiteY8" fmla="*/ 2730500 h 5080000"/>
                <a:gd name="connsiteX9" fmla="*/ 1550946 w 5348246"/>
                <a:gd name="connsiteY9" fmla="*/ 2641600 h 5080000"/>
                <a:gd name="connsiteX10" fmla="*/ 585746 w 5348246"/>
                <a:gd name="connsiteY10" fmla="*/ 838200 h 5080000"/>
                <a:gd name="connsiteX11" fmla="*/ 1258846 w 5348246"/>
                <a:gd name="connsiteY11" fmla="*/ 622300 h 5080000"/>
                <a:gd name="connsiteX12" fmla="*/ 1995446 w 5348246"/>
                <a:gd name="connsiteY12" fmla="*/ 2095500 h 5080000"/>
                <a:gd name="connsiteX13" fmla="*/ 2224046 w 5348246"/>
                <a:gd name="connsiteY13" fmla="*/ 1955800 h 5080000"/>
                <a:gd name="connsiteX14" fmla="*/ 1538246 w 5348246"/>
                <a:gd name="connsiteY14" fmla="*/ 203200 h 5080000"/>
                <a:gd name="connsiteX15" fmla="*/ 2122446 w 5348246"/>
                <a:gd name="connsiteY15" fmla="*/ 0 h 5080000"/>
                <a:gd name="connsiteX16" fmla="*/ 2861586 w 5348246"/>
                <a:gd name="connsiteY16" fmla="*/ 1887220 h 5080000"/>
                <a:gd name="connsiteX17" fmla="*/ 3062246 w 5348246"/>
                <a:gd name="connsiteY17" fmla="*/ 1930400 h 5080000"/>
                <a:gd name="connsiteX18" fmla="*/ 2859046 w 5348246"/>
                <a:gd name="connsiteY18" fmla="*/ 165100 h 5080000"/>
                <a:gd name="connsiteX19" fmla="*/ 3544846 w 5348246"/>
                <a:gd name="connsiteY19" fmla="*/ 38100 h 5080000"/>
                <a:gd name="connsiteX20" fmla="*/ 3798846 w 5348246"/>
                <a:gd name="connsiteY20" fmla="*/ 2235200 h 5080000"/>
                <a:gd name="connsiteX21" fmla="*/ 3925846 w 5348246"/>
                <a:gd name="connsiteY21" fmla="*/ 2425700 h 5080000"/>
                <a:gd name="connsiteX22" fmla="*/ 4306846 w 5348246"/>
                <a:gd name="connsiteY22" fmla="*/ 1638300 h 5080000"/>
                <a:gd name="connsiteX23" fmla="*/ 4725946 w 5348246"/>
                <a:gd name="connsiteY23" fmla="*/ 1155700 h 5080000"/>
                <a:gd name="connsiteX24" fmla="*/ 5170446 w 5348246"/>
                <a:gd name="connsiteY24" fmla="*/ 1193800 h 5080000"/>
                <a:gd name="connsiteX25" fmla="*/ 5348246 w 5348246"/>
                <a:gd name="connsiteY25" fmla="*/ 1358900 h 5080000"/>
                <a:gd name="connsiteX26" fmla="*/ 4916446 w 5348246"/>
                <a:gd name="connsiteY26" fmla="*/ 1841500 h 5080000"/>
                <a:gd name="connsiteX27" fmla="*/ 4268746 w 5348246"/>
                <a:gd name="connsiteY27" fmla="*/ 4140200 h 5080000"/>
                <a:gd name="connsiteX28" fmla="*/ 3887746 w 5348246"/>
                <a:gd name="connsiteY28" fmla="*/ 4686300 h 5080000"/>
                <a:gd name="connsiteX29" fmla="*/ 3265446 w 5348246"/>
                <a:gd name="connsiteY29" fmla="*/ 4991100 h 5080000"/>
                <a:gd name="connsiteX30" fmla="*/ 2909846 w 5348246"/>
                <a:gd name="connsiteY30" fmla="*/ 5080000 h 5080000"/>
                <a:gd name="connsiteX0" fmla="*/ 2909846 w 5348246"/>
                <a:gd name="connsiteY0" fmla="*/ 5080000 h 5080000"/>
                <a:gd name="connsiteX1" fmla="*/ 2909846 w 5348246"/>
                <a:gd name="connsiteY1" fmla="*/ 5080000 h 5080000"/>
                <a:gd name="connsiteX2" fmla="*/ 2257066 w 5348246"/>
                <a:gd name="connsiteY2" fmla="*/ 4965700 h 5080000"/>
                <a:gd name="connsiteX3" fmla="*/ 1665246 w 5348246"/>
                <a:gd name="connsiteY3" fmla="*/ 4457700 h 5080000"/>
                <a:gd name="connsiteX4" fmla="*/ 1124226 w 5348246"/>
                <a:gd name="connsiteY4" fmla="*/ 3436620 h 5080000"/>
                <a:gd name="connsiteX5" fmla="*/ 16786 w 5348246"/>
                <a:gd name="connsiteY5" fmla="*/ 1813560 h 5080000"/>
                <a:gd name="connsiteX6" fmla="*/ 514626 w 5348246"/>
                <a:gd name="connsiteY6" fmla="*/ 1463040 h 5080000"/>
                <a:gd name="connsiteX7" fmla="*/ 1309646 w 5348246"/>
                <a:gd name="connsiteY7" fmla="*/ 2628900 h 5080000"/>
                <a:gd name="connsiteX8" fmla="*/ 1512846 w 5348246"/>
                <a:gd name="connsiteY8" fmla="*/ 2730500 h 5080000"/>
                <a:gd name="connsiteX9" fmla="*/ 1550946 w 5348246"/>
                <a:gd name="connsiteY9" fmla="*/ 2641600 h 5080000"/>
                <a:gd name="connsiteX10" fmla="*/ 585746 w 5348246"/>
                <a:gd name="connsiteY10" fmla="*/ 838200 h 5080000"/>
                <a:gd name="connsiteX11" fmla="*/ 1258846 w 5348246"/>
                <a:gd name="connsiteY11" fmla="*/ 622300 h 5080000"/>
                <a:gd name="connsiteX12" fmla="*/ 1995446 w 5348246"/>
                <a:gd name="connsiteY12" fmla="*/ 2095500 h 5080000"/>
                <a:gd name="connsiteX13" fmla="*/ 2224046 w 5348246"/>
                <a:gd name="connsiteY13" fmla="*/ 1955800 h 5080000"/>
                <a:gd name="connsiteX14" fmla="*/ 1538246 w 5348246"/>
                <a:gd name="connsiteY14" fmla="*/ 203200 h 5080000"/>
                <a:gd name="connsiteX15" fmla="*/ 2122446 w 5348246"/>
                <a:gd name="connsiteY15" fmla="*/ 0 h 5080000"/>
                <a:gd name="connsiteX16" fmla="*/ 2861586 w 5348246"/>
                <a:gd name="connsiteY16" fmla="*/ 1887220 h 5080000"/>
                <a:gd name="connsiteX17" fmla="*/ 3062246 w 5348246"/>
                <a:gd name="connsiteY17" fmla="*/ 1930400 h 5080000"/>
                <a:gd name="connsiteX18" fmla="*/ 2859046 w 5348246"/>
                <a:gd name="connsiteY18" fmla="*/ 165100 h 5080000"/>
                <a:gd name="connsiteX19" fmla="*/ 3544846 w 5348246"/>
                <a:gd name="connsiteY19" fmla="*/ 38100 h 5080000"/>
                <a:gd name="connsiteX20" fmla="*/ 3798846 w 5348246"/>
                <a:gd name="connsiteY20" fmla="*/ 2235200 h 5080000"/>
                <a:gd name="connsiteX21" fmla="*/ 3925846 w 5348246"/>
                <a:gd name="connsiteY21" fmla="*/ 2425700 h 5080000"/>
                <a:gd name="connsiteX22" fmla="*/ 4306846 w 5348246"/>
                <a:gd name="connsiteY22" fmla="*/ 1638300 h 5080000"/>
                <a:gd name="connsiteX23" fmla="*/ 4725946 w 5348246"/>
                <a:gd name="connsiteY23" fmla="*/ 1155700 h 5080000"/>
                <a:gd name="connsiteX24" fmla="*/ 5170446 w 5348246"/>
                <a:gd name="connsiteY24" fmla="*/ 1193800 h 5080000"/>
                <a:gd name="connsiteX25" fmla="*/ 5348246 w 5348246"/>
                <a:gd name="connsiteY25" fmla="*/ 1358900 h 5080000"/>
                <a:gd name="connsiteX26" fmla="*/ 4916446 w 5348246"/>
                <a:gd name="connsiteY26" fmla="*/ 1841500 h 5080000"/>
                <a:gd name="connsiteX27" fmla="*/ 4268746 w 5348246"/>
                <a:gd name="connsiteY27" fmla="*/ 4140200 h 5080000"/>
                <a:gd name="connsiteX28" fmla="*/ 3887746 w 5348246"/>
                <a:gd name="connsiteY28" fmla="*/ 4686300 h 5080000"/>
                <a:gd name="connsiteX29" fmla="*/ 3265446 w 5348246"/>
                <a:gd name="connsiteY29" fmla="*/ 4991100 h 5080000"/>
                <a:gd name="connsiteX30" fmla="*/ 2909846 w 5348246"/>
                <a:gd name="connsiteY30" fmla="*/ 5080000 h 5080000"/>
                <a:gd name="connsiteX0" fmla="*/ 2909846 w 5348246"/>
                <a:gd name="connsiteY0" fmla="*/ 5080000 h 5080000"/>
                <a:gd name="connsiteX1" fmla="*/ 2909846 w 5348246"/>
                <a:gd name="connsiteY1" fmla="*/ 5080000 h 5080000"/>
                <a:gd name="connsiteX2" fmla="*/ 2257066 w 5348246"/>
                <a:gd name="connsiteY2" fmla="*/ 4965700 h 5080000"/>
                <a:gd name="connsiteX3" fmla="*/ 1665246 w 5348246"/>
                <a:gd name="connsiteY3" fmla="*/ 4457700 h 5080000"/>
                <a:gd name="connsiteX4" fmla="*/ 1124226 w 5348246"/>
                <a:gd name="connsiteY4" fmla="*/ 3436620 h 5080000"/>
                <a:gd name="connsiteX5" fmla="*/ 16786 w 5348246"/>
                <a:gd name="connsiteY5" fmla="*/ 1813560 h 5080000"/>
                <a:gd name="connsiteX6" fmla="*/ 514626 w 5348246"/>
                <a:gd name="connsiteY6" fmla="*/ 1463040 h 5080000"/>
                <a:gd name="connsiteX7" fmla="*/ 1309646 w 5348246"/>
                <a:gd name="connsiteY7" fmla="*/ 2628900 h 5080000"/>
                <a:gd name="connsiteX8" fmla="*/ 1512846 w 5348246"/>
                <a:gd name="connsiteY8" fmla="*/ 2730500 h 5080000"/>
                <a:gd name="connsiteX9" fmla="*/ 1550946 w 5348246"/>
                <a:gd name="connsiteY9" fmla="*/ 2641600 h 5080000"/>
                <a:gd name="connsiteX10" fmla="*/ 585746 w 5348246"/>
                <a:gd name="connsiteY10" fmla="*/ 838200 h 5080000"/>
                <a:gd name="connsiteX11" fmla="*/ 1258846 w 5348246"/>
                <a:gd name="connsiteY11" fmla="*/ 622300 h 5080000"/>
                <a:gd name="connsiteX12" fmla="*/ 1995446 w 5348246"/>
                <a:gd name="connsiteY12" fmla="*/ 2095500 h 5080000"/>
                <a:gd name="connsiteX13" fmla="*/ 2224046 w 5348246"/>
                <a:gd name="connsiteY13" fmla="*/ 1955800 h 5080000"/>
                <a:gd name="connsiteX14" fmla="*/ 1538246 w 5348246"/>
                <a:gd name="connsiteY14" fmla="*/ 203200 h 5080000"/>
                <a:gd name="connsiteX15" fmla="*/ 2122446 w 5348246"/>
                <a:gd name="connsiteY15" fmla="*/ 0 h 5080000"/>
                <a:gd name="connsiteX16" fmla="*/ 2861586 w 5348246"/>
                <a:gd name="connsiteY16" fmla="*/ 1887220 h 5080000"/>
                <a:gd name="connsiteX17" fmla="*/ 3054626 w 5348246"/>
                <a:gd name="connsiteY17" fmla="*/ 1816100 h 5080000"/>
                <a:gd name="connsiteX18" fmla="*/ 2859046 w 5348246"/>
                <a:gd name="connsiteY18" fmla="*/ 165100 h 5080000"/>
                <a:gd name="connsiteX19" fmla="*/ 3544846 w 5348246"/>
                <a:gd name="connsiteY19" fmla="*/ 38100 h 5080000"/>
                <a:gd name="connsiteX20" fmla="*/ 3798846 w 5348246"/>
                <a:gd name="connsiteY20" fmla="*/ 2235200 h 5080000"/>
                <a:gd name="connsiteX21" fmla="*/ 3925846 w 5348246"/>
                <a:gd name="connsiteY21" fmla="*/ 2425700 h 5080000"/>
                <a:gd name="connsiteX22" fmla="*/ 4306846 w 5348246"/>
                <a:gd name="connsiteY22" fmla="*/ 1638300 h 5080000"/>
                <a:gd name="connsiteX23" fmla="*/ 4725946 w 5348246"/>
                <a:gd name="connsiteY23" fmla="*/ 1155700 h 5080000"/>
                <a:gd name="connsiteX24" fmla="*/ 5170446 w 5348246"/>
                <a:gd name="connsiteY24" fmla="*/ 1193800 h 5080000"/>
                <a:gd name="connsiteX25" fmla="*/ 5348246 w 5348246"/>
                <a:gd name="connsiteY25" fmla="*/ 1358900 h 5080000"/>
                <a:gd name="connsiteX26" fmla="*/ 4916446 w 5348246"/>
                <a:gd name="connsiteY26" fmla="*/ 1841500 h 5080000"/>
                <a:gd name="connsiteX27" fmla="*/ 4268746 w 5348246"/>
                <a:gd name="connsiteY27" fmla="*/ 4140200 h 5080000"/>
                <a:gd name="connsiteX28" fmla="*/ 3887746 w 5348246"/>
                <a:gd name="connsiteY28" fmla="*/ 4686300 h 5080000"/>
                <a:gd name="connsiteX29" fmla="*/ 3265446 w 5348246"/>
                <a:gd name="connsiteY29" fmla="*/ 4991100 h 5080000"/>
                <a:gd name="connsiteX30" fmla="*/ 2909846 w 5348246"/>
                <a:gd name="connsiteY30" fmla="*/ 5080000 h 5080000"/>
                <a:gd name="connsiteX0" fmla="*/ 2909846 w 5348246"/>
                <a:gd name="connsiteY0" fmla="*/ 5080000 h 5080000"/>
                <a:gd name="connsiteX1" fmla="*/ 2909846 w 5348246"/>
                <a:gd name="connsiteY1" fmla="*/ 5080000 h 5080000"/>
                <a:gd name="connsiteX2" fmla="*/ 2257066 w 5348246"/>
                <a:gd name="connsiteY2" fmla="*/ 4965700 h 5080000"/>
                <a:gd name="connsiteX3" fmla="*/ 1665246 w 5348246"/>
                <a:gd name="connsiteY3" fmla="*/ 4457700 h 5080000"/>
                <a:gd name="connsiteX4" fmla="*/ 1124226 w 5348246"/>
                <a:gd name="connsiteY4" fmla="*/ 3436620 h 5080000"/>
                <a:gd name="connsiteX5" fmla="*/ 16786 w 5348246"/>
                <a:gd name="connsiteY5" fmla="*/ 1813560 h 5080000"/>
                <a:gd name="connsiteX6" fmla="*/ 514626 w 5348246"/>
                <a:gd name="connsiteY6" fmla="*/ 1463040 h 5080000"/>
                <a:gd name="connsiteX7" fmla="*/ 1309646 w 5348246"/>
                <a:gd name="connsiteY7" fmla="*/ 2628900 h 5080000"/>
                <a:gd name="connsiteX8" fmla="*/ 1512846 w 5348246"/>
                <a:gd name="connsiteY8" fmla="*/ 2730500 h 5080000"/>
                <a:gd name="connsiteX9" fmla="*/ 1550946 w 5348246"/>
                <a:gd name="connsiteY9" fmla="*/ 2641600 h 5080000"/>
                <a:gd name="connsiteX10" fmla="*/ 585746 w 5348246"/>
                <a:gd name="connsiteY10" fmla="*/ 838200 h 5080000"/>
                <a:gd name="connsiteX11" fmla="*/ 1258846 w 5348246"/>
                <a:gd name="connsiteY11" fmla="*/ 622300 h 5080000"/>
                <a:gd name="connsiteX12" fmla="*/ 1995446 w 5348246"/>
                <a:gd name="connsiteY12" fmla="*/ 2095500 h 5080000"/>
                <a:gd name="connsiteX13" fmla="*/ 2224046 w 5348246"/>
                <a:gd name="connsiteY13" fmla="*/ 1955800 h 5080000"/>
                <a:gd name="connsiteX14" fmla="*/ 1538246 w 5348246"/>
                <a:gd name="connsiteY14" fmla="*/ 203200 h 5080000"/>
                <a:gd name="connsiteX15" fmla="*/ 2122446 w 5348246"/>
                <a:gd name="connsiteY15" fmla="*/ 0 h 5080000"/>
                <a:gd name="connsiteX16" fmla="*/ 2838726 w 5348246"/>
                <a:gd name="connsiteY16" fmla="*/ 1772920 h 5080000"/>
                <a:gd name="connsiteX17" fmla="*/ 3054626 w 5348246"/>
                <a:gd name="connsiteY17" fmla="*/ 1816100 h 5080000"/>
                <a:gd name="connsiteX18" fmla="*/ 2859046 w 5348246"/>
                <a:gd name="connsiteY18" fmla="*/ 165100 h 5080000"/>
                <a:gd name="connsiteX19" fmla="*/ 3544846 w 5348246"/>
                <a:gd name="connsiteY19" fmla="*/ 38100 h 5080000"/>
                <a:gd name="connsiteX20" fmla="*/ 3798846 w 5348246"/>
                <a:gd name="connsiteY20" fmla="*/ 2235200 h 5080000"/>
                <a:gd name="connsiteX21" fmla="*/ 3925846 w 5348246"/>
                <a:gd name="connsiteY21" fmla="*/ 2425700 h 5080000"/>
                <a:gd name="connsiteX22" fmla="*/ 4306846 w 5348246"/>
                <a:gd name="connsiteY22" fmla="*/ 1638300 h 5080000"/>
                <a:gd name="connsiteX23" fmla="*/ 4725946 w 5348246"/>
                <a:gd name="connsiteY23" fmla="*/ 1155700 h 5080000"/>
                <a:gd name="connsiteX24" fmla="*/ 5170446 w 5348246"/>
                <a:gd name="connsiteY24" fmla="*/ 1193800 h 5080000"/>
                <a:gd name="connsiteX25" fmla="*/ 5348246 w 5348246"/>
                <a:gd name="connsiteY25" fmla="*/ 1358900 h 5080000"/>
                <a:gd name="connsiteX26" fmla="*/ 4916446 w 5348246"/>
                <a:gd name="connsiteY26" fmla="*/ 1841500 h 5080000"/>
                <a:gd name="connsiteX27" fmla="*/ 4268746 w 5348246"/>
                <a:gd name="connsiteY27" fmla="*/ 4140200 h 5080000"/>
                <a:gd name="connsiteX28" fmla="*/ 3887746 w 5348246"/>
                <a:gd name="connsiteY28" fmla="*/ 4686300 h 5080000"/>
                <a:gd name="connsiteX29" fmla="*/ 3265446 w 5348246"/>
                <a:gd name="connsiteY29" fmla="*/ 4991100 h 5080000"/>
                <a:gd name="connsiteX30" fmla="*/ 2909846 w 5348246"/>
                <a:gd name="connsiteY30" fmla="*/ 5080000 h 5080000"/>
                <a:gd name="connsiteX0" fmla="*/ 2909846 w 5348246"/>
                <a:gd name="connsiteY0" fmla="*/ 5080000 h 5080000"/>
                <a:gd name="connsiteX1" fmla="*/ 2909846 w 5348246"/>
                <a:gd name="connsiteY1" fmla="*/ 5080000 h 5080000"/>
                <a:gd name="connsiteX2" fmla="*/ 2257066 w 5348246"/>
                <a:gd name="connsiteY2" fmla="*/ 4965700 h 5080000"/>
                <a:gd name="connsiteX3" fmla="*/ 1665246 w 5348246"/>
                <a:gd name="connsiteY3" fmla="*/ 4457700 h 5080000"/>
                <a:gd name="connsiteX4" fmla="*/ 1124226 w 5348246"/>
                <a:gd name="connsiteY4" fmla="*/ 3436620 h 5080000"/>
                <a:gd name="connsiteX5" fmla="*/ 16786 w 5348246"/>
                <a:gd name="connsiteY5" fmla="*/ 1813560 h 5080000"/>
                <a:gd name="connsiteX6" fmla="*/ 514626 w 5348246"/>
                <a:gd name="connsiteY6" fmla="*/ 1463040 h 5080000"/>
                <a:gd name="connsiteX7" fmla="*/ 1309646 w 5348246"/>
                <a:gd name="connsiteY7" fmla="*/ 2628900 h 5080000"/>
                <a:gd name="connsiteX8" fmla="*/ 1512846 w 5348246"/>
                <a:gd name="connsiteY8" fmla="*/ 2730500 h 5080000"/>
                <a:gd name="connsiteX9" fmla="*/ 1550946 w 5348246"/>
                <a:gd name="connsiteY9" fmla="*/ 2641600 h 5080000"/>
                <a:gd name="connsiteX10" fmla="*/ 585746 w 5348246"/>
                <a:gd name="connsiteY10" fmla="*/ 838200 h 5080000"/>
                <a:gd name="connsiteX11" fmla="*/ 1258846 w 5348246"/>
                <a:gd name="connsiteY11" fmla="*/ 622300 h 5080000"/>
                <a:gd name="connsiteX12" fmla="*/ 1995446 w 5348246"/>
                <a:gd name="connsiteY12" fmla="*/ 2095500 h 5080000"/>
                <a:gd name="connsiteX13" fmla="*/ 2224046 w 5348246"/>
                <a:gd name="connsiteY13" fmla="*/ 1955800 h 5080000"/>
                <a:gd name="connsiteX14" fmla="*/ 1538246 w 5348246"/>
                <a:gd name="connsiteY14" fmla="*/ 203200 h 5080000"/>
                <a:gd name="connsiteX15" fmla="*/ 2122446 w 5348246"/>
                <a:gd name="connsiteY15" fmla="*/ 0 h 5080000"/>
                <a:gd name="connsiteX16" fmla="*/ 2838726 w 5348246"/>
                <a:gd name="connsiteY16" fmla="*/ 1772920 h 5080000"/>
                <a:gd name="connsiteX17" fmla="*/ 3039386 w 5348246"/>
                <a:gd name="connsiteY17" fmla="*/ 1739900 h 5080000"/>
                <a:gd name="connsiteX18" fmla="*/ 2859046 w 5348246"/>
                <a:gd name="connsiteY18" fmla="*/ 165100 h 5080000"/>
                <a:gd name="connsiteX19" fmla="*/ 3544846 w 5348246"/>
                <a:gd name="connsiteY19" fmla="*/ 38100 h 5080000"/>
                <a:gd name="connsiteX20" fmla="*/ 3798846 w 5348246"/>
                <a:gd name="connsiteY20" fmla="*/ 2235200 h 5080000"/>
                <a:gd name="connsiteX21" fmla="*/ 3925846 w 5348246"/>
                <a:gd name="connsiteY21" fmla="*/ 2425700 h 5080000"/>
                <a:gd name="connsiteX22" fmla="*/ 4306846 w 5348246"/>
                <a:gd name="connsiteY22" fmla="*/ 1638300 h 5080000"/>
                <a:gd name="connsiteX23" fmla="*/ 4725946 w 5348246"/>
                <a:gd name="connsiteY23" fmla="*/ 1155700 h 5080000"/>
                <a:gd name="connsiteX24" fmla="*/ 5170446 w 5348246"/>
                <a:gd name="connsiteY24" fmla="*/ 1193800 h 5080000"/>
                <a:gd name="connsiteX25" fmla="*/ 5348246 w 5348246"/>
                <a:gd name="connsiteY25" fmla="*/ 1358900 h 5080000"/>
                <a:gd name="connsiteX26" fmla="*/ 4916446 w 5348246"/>
                <a:gd name="connsiteY26" fmla="*/ 1841500 h 5080000"/>
                <a:gd name="connsiteX27" fmla="*/ 4268746 w 5348246"/>
                <a:gd name="connsiteY27" fmla="*/ 4140200 h 5080000"/>
                <a:gd name="connsiteX28" fmla="*/ 3887746 w 5348246"/>
                <a:gd name="connsiteY28" fmla="*/ 4686300 h 5080000"/>
                <a:gd name="connsiteX29" fmla="*/ 3265446 w 5348246"/>
                <a:gd name="connsiteY29" fmla="*/ 4991100 h 5080000"/>
                <a:gd name="connsiteX30" fmla="*/ 2909846 w 5348246"/>
                <a:gd name="connsiteY30" fmla="*/ 5080000 h 5080000"/>
                <a:gd name="connsiteX0" fmla="*/ 2909846 w 5348246"/>
                <a:gd name="connsiteY0" fmla="*/ 5080000 h 5080000"/>
                <a:gd name="connsiteX1" fmla="*/ 2909846 w 5348246"/>
                <a:gd name="connsiteY1" fmla="*/ 5080000 h 5080000"/>
                <a:gd name="connsiteX2" fmla="*/ 2257066 w 5348246"/>
                <a:gd name="connsiteY2" fmla="*/ 4965700 h 5080000"/>
                <a:gd name="connsiteX3" fmla="*/ 1665246 w 5348246"/>
                <a:gd name="connsiteY3" fmla="*/ 4457700 h 5080000"/>
                <a:gd name="connsiteX4" fmla="*/ 1124226 w 5348246"/>
                <a:gd name="connsiteY4" fmla="*/ 3436620 h 5080000"/>
                <a:gd name="connsiteX5" fmla="*/ 16786 w 5348246"/>
                <a:gd name="connsiteY5" fmla="*/ 1813560 h 5080000"/>
                <a:gd name="connsiteX6" fmla="*/ 514626 w 5348246"/>
                <a:gd name="connsiteY6" fmla="*/ 1463040 h 5080000"/>
                <a:gd name="connsiteX7" fmla="*/ 1309646 w 5348246"/>
                <a:gd name="connsiteY7" fmla="*/ 2628900 h 5080000"/>
                <a:gd name="connsiteX8" fmla="*/ 1512846 w 5348246"/>
                <a:gd name="connsiteY8" fmla="*/ 2730500 h 5080000"/>
                <a:gd name="connsiteX9" fmla="*/ 1550946 w 5348246"/>
                <a:gd name="connsiteY9" fmla="*/ 2641600 h 5080000"/>
                <a:gd name="connsiteX10" fmla="*/ 585746 w 5348246"/>
                <a:gd name="connsiteY10" fmla="*/ 838200 h 5080000"/>
                <a:gd name="connsiteX11" fmla="*/ 1258846 w 5348246"/>
                <a:gd name="connsiteY11" fmla="*/ 622300 h 5080000"/>
                <a:gd name="connsiteX12" fmla="*/ 1995446 w 5348246"/>
                <a:gd name="connsiteY12" fmla="*/ 2095500 h 5080000"/>
                <a:gd name="connsiteX13" fmla="*/ 2224046 w 5348246"/>
                <a:gd name="connsiteY13" fmla="*/ 1955800 h 5080000"/>
                <a:gd name="connsiteX14" fmla="*/ 1538246 w 5348246"/>
                <a:gd name="connsiteY14" fmla="*/ 203200 h 5080000"/>
                <a:gd name="connsiteX15" fmla="*/ 2122446 w 5348246"/>
                <a:gd name="connsiteY15" fmla="*/ 0 h 5080000"/>
                <a:gd name="connsiteX16" fmla="*/ 2838726 w 5348246"/>
                <a:gd name="connsiteY16" fmla="*/ 1772920 h 5080000"/>
                <a:gd name="connsiteX17" fmla="*/ 3039386 w 5348246"/>
                <a:gd name="connsiteY17" fmla="*/ 1739900 h 5080000"/>
                <a:gd name="connsiteX18" fmla="*/ 2859046 w 5348246"/>
                <a:gd name="connsiteY18" fmla="*/ 165100 h 5080000"/>
                <a:gd name="connsiteX19" fmla="*/ 3544846 w 5348246"/>
                <a:gd name="connsiteY19" fmla="*/ 38100 h 5080000"/>
                <a:gd name="connsiteX20" fmla="*/ 3798846 w 5348246"/>
                <a:gd name="connsiteY20" fmla="*/ 2235200 h 5080000"/>
                <a:gd name="connsiteX21" fmla="*/ 3925846 w 5348246"/>
                <a:gd name="connsiteY21" fmla="*/ 2425700 h 5080000"/>
                <a:gd name="connsiteX22" fmla="*/ 4306846 w 5348246"/>
                <a:gd name="connsiteY22" fmla="*/ 1638300 h 5080000"/>
                <a:gd name="connsiteX23" fmla="*/ 4725946 w 5348246"/>
                <a:gd name="connsiteY23" fmla="*/ 1155700 h 5080000"/>
                <a:gd name="connsiteX24" fmla="*/ 5170446 w 5348246"/>
                <a:gd name="connsiteY24" fmla="*/ 1193800 h 5080000"/>
                <a:gd name="connsiteX25" fmla="*/ 5348246 w 5348246"/>
                <a:gd name="connsiteY25" fmla="*/ 1358900 h 5080000"/>
                <a:gd name="connsiteX26" fmla="*/ 4916446 w 5348246"/>
                <a:gd name="connsiteY26" fmla="*/ 1841500 h 5080000"/>
                <a:gd name="connsiteX27" fmla="*/ 4268746 w 5348246"/>
                <a:gd name="connsiteY27" fmla="*/ 4140200 h 5080000"/>
                <a:gd name="connsiteX28" fmla="*/ 3887746 w 5348246"/>
                <a:gd name="connsiteY28" fmla="*/ 4686300 h 5080000"/>
                <a:gd name="connsiteX29" fmla="*/ 3265446 w 5348246"/>
                <a:gd name="connsiteY29" fmla="*/ 4991100 h 5080000"/>
                <a:gd name="connsiteX30" fmla="*/ 2909846 w 5348246"/>
                <a:gd name="connsiteY30" fmla="*/ 5080000 h 5080000"/>
                <a:gd name="connsiteX0" fmla="*/ 2909846 w 5348246"/>
                <a:gd name="connsiteY0" fmla="*/ 5080000 h 5080000"/>
                <a:gd name="connsiteX1" fmla="*/ 2909846 w 5348246"/>
                <a:gd name="connsiteY1" fmla="*/ 5080000 h 5080000"/>
                <a:gd name="connsiteX2" fmla="*/ 2257066 w 5348246"/>
                <a:gd name="connsiteY2" fmla="*/ 4965700 h 5080000"/>
                <a:gd name="connsiteX3" fmla="*/ 1665246 w 5348246"/>
                <a:gd name="connsiteY3" fmla="*/ 4457700 h 5080000"/>
                <a:gd name="connsiteX4" fmla="*/ 1124226 w 5348246"/>
                <a:gd name="connsiteY4" fmla="*/ 3436620 h 5080000"/>
                <a:gd name="connsiteX5" fmla="*/ 16786 w 5348246"/>
                <a:gd name="connsiteY5" fmla="*/ 1813560 h 5080000"/>
                <a:gd name="connsiteX6" fmla="*/ 514626 w 5348246"/>
                <a:gd name="connsiteY6" fmla="*/ 1463040 h 5080000"/>
                <a:gd name="connsiteX7" fmla="*/ 1309646 w 5348246"/>
                <a:gd name="connsiteY7" fmla="*/ 2628900 h 5080000"/>
                <a:gd name="connsiteX8" fmla="*/ 1512846 w 5348246"/>
                <a:gd name="connsiteY8" fmla="*/ 2730500 h 5080000"/>
                <a:gd name="connsiteX9" fmla="*/ 1550946 w 5348246"/>
                <a:gd name="connsiteY9" fmla="*/ 2641600 h 5080000"/>
                <a:gd name="connsiteX10" fmla="*/ 585746 w 5348246"/>
                <a:gd name="connsiteY10" fmla="*/ 838200 h 5080000"/>
                <a:gd name="connsiteX11" fmla="*/ 1258846 w 5348246"/>
                <a:gd name="connsiteY11" fmla="*/ 622300 h 5080000"/>
                <a:gd name="connsiteX12" fmla="*/ 1995446 w 5348246"/>
                <a:gd name="connsiteY12" fmla="*/ 2095500 h 5080000"/>
                <a:gd name="connsiteX13" fmla="*/ 2178326 w 5348246"/>
                <a:gd name="connsiteY13" fmla="*/ 1978660 h 5080000"/>
                <a:gd name="connsiteX14" fmla="*/ 1538246 w 5348246"/>
                <a:gd name="connsiteY14" fmla="*/ 203200 h 5080000"/>
                <a:gd name="connsiteX15" fmla="*/ 2122446 w 5348246"/>
                <a:gd name="connsiteY15" fmla="*/ 0 h 5080000"/>
                <a:gd name="connsiteX16" fmla="*/ 2838726 w 5348246"/>
                <a:gd name="connsiteY16" fmla="*/ 1772920 h 5080000"/>
                <a:gd name="connsiteX17" fmla="*/ 3039386 w 5348246"/>
                <a:gd name="connsiteY17" fmla="*/ 1739900 h 5080000"/>
                <a:gd name="connsiteX18" fmla="*/ 2859046 w 5348246"/>
                <a:gd name="connsiteY18" fmla="*/ 165100 h 5080000"/>
                <a:gd name="connsiteX19" fmla="*/ 3544846 w 5348246"/>
                <a:gd name="connsiteY19" fmla="*/ 38100 h 5080000"/>
                <a:gd name="connsiteX20" fmla="*/ 3798846 w 5348246"/>
                <a:gd name="connsiteY20" fmla="*/ 2235200 h 5080000"/>
                <a:gd name="connsiteX21" fmla="*/ 3925846 w 5348246"/>
                <a:gd name="connsiteY21" fmla="*/ 2425700 h 5080000"/>
                <a:gd name="connsiteX22" fmla="*/ 4306846 w 5348246"/>
                <a:gd name="connsiteY22" fmla="*/ 1638300 h 5080000"/>
                <a:gd name="connsiteX23" fmla="*/ 4725946 w 5348246"/>
                <a:gd name="connsiteY23" fmla="*/ 1155700 h 5080000"/>
                <a:gd name="connsiteX24" fmla="*/ 5170446 w 5348246"/>
                <a:gd name="connsiteY24" fmla="*/ 1193800 h 5080000"/>
                <a:gd name="connsiteX25" fmla="*/ 5348246 w 5348246"/>
                <a:gd name="connsiteY25" fmla="*/ 1358900 h 5080000"/>
                <a:gd name="connsiteX26" fmla="*/ 4916446 w 5348246"/>
                <a:gd name="connsiteY26" fmla="*/ 1841500 h 5080000"/>
                <a:gd name="connsiteX27" fmla="*/ 4268746 w 5348246"/>
                <a:gd name="connsiteY27" fmla="*/ 4140200 h 5080000"/>
                <a:gd name="connsiteX28" fmla="*/ 3887746 w 5348246"/>
                <a:gd name="connsiteY28" fmla="*/ 4686300 h 5080000"/>
                <a:gd name="connsiteX29" fmla="*/ 3265446 w 5348246"/>
                <a:gd name="connsiteY29" fmla="*/ 4991100 h 5080000"/>
                <a:gd name="connsiteX30" fmla="*/ 2909846 w 5348246"/>
                <a:gd name="connsiteY30" fmla="*/ 5080000 h 5080000"/>
                <a:gd name="connsiteX0" fmla="*/ 2909846 w 5348246"/>
                <a:gd name="connsiteY0" fmla="*/ 5080000 h 5080000"/>
                <a:gd name="connsiteX1" fmla="*/ 2909846 w 5348246"/>
                <a:gd name="connsiteY1" fmla="*/ 5080000 h 5080000"/>
                <a:gd name="connsiteX2" fmla="*/ 2257066 w 5348246"/>
                <a:gd name="connsiteY2" fmla="*/ 4965700 h 5080000"/>
                <a:gd name="connsiteX3" fmla="*/ 1665246 w 5348246"/>
                <a:gd name="connsiteY3" fmla="*/ 4457700 h 5080000"/>
                <a:gd name="connsiteX4" fmla="*/ 1124226 w 5348246"/>
                <a:gd name="connsiteY4" fmla="*/ 3436620 h 5080000"/>
                <a:gd name="connsiteX5" fmla="*/ 16786 w 5348246"/>
                <a:gd name="connsiteY5" fmla="*/ 1813560 h 5080000"/>
                <a:gd name="connsiteX6" fmla="*/ 514626 w 5348246"/>
                <a:gd name="connsiteY6" fmla="*/ 1463040 h 5080000"/>
                <a:gd name="connsiteX7" fmla="*/ 1309646 w 5348246"/>
                <a:gd name="connsiteY7" fmla="*/ 2628900 h 5080000"/>
                <a:gd name="connsiteX8" fmla="*/ 1512846 w 5348246"/>
                <a:gd name="connsiteY8" fmla="*/ 2730500 h 5080000"/>
                <a:gd name="connsiteX9" fmla="*/ 1550946 w 5348246"/>
                <a:gd name="connsiteY9" fmla="*/ 2641600 h 5080000"/>
                <a:gd name="connsiteX10" fmla="*/ 585746 w 5348246"/>
                <a:gd name="connsiteY10" fmla="*/ 838200 h 5080000"/>
                <a:gd name="connsiteX11" fmla="*/ 1258846 w 5348246"/>
                <a:gd name="connsiteY11" fmla="*/ 622300 h 5080000"/>
                <a:gd name="connsiteX12" fmla="*/ 1995446 w 5348246"/>
                <a:gd name="connsiteY12" fmla="*/ 2095500 h 5080000"/>
                <a:gd name="connsiteX13" fmla="*/ 2178326 w 5348246"/>
                <a:gd name="connsiteY13" fmla="*/ 1978660 h 5080000"/>
                <a:gd name="connsiteX14" fmla="*/ 1538246 w 5348246"/>
                <a:gd name="connsiteY14" fmla="*/ 203200 h 5080000"/>
                <a:gd name="connsiteX15" fmla="*/ 2122446 w 5348246"/>
                <a:gd name="connsiteY15" fmla="*/ 0 h 5080000"/>
                <a:gd name="connsiteX16" fmla="*/ 2838726 w 5348246"/>
                <a:gd name="connsiteY16" fmla="*/ 1772920 h 5080000"/>
                <a:gd name="connsiteX17" fmla="*/ 3039386 w 5348246"/>
                <a:gd name="connsiteY17" fmla="*/ 1739900 h 5080000"/>
                <a:gd name="connsiteX18" fmla="*/ 2859046 w 5348246"/>
                <a:gd name="connsiteY18" fmla="*/ 165100 h 5080000"/>
                <a:gd name="connsiteX19" fmla="*/ 3544846 w 5348246"/>
                <a:gd name="connsiteY19" fmla="*/ 38100 h 5080000"/>
                <a:gd name="connsiteX20" fmla="*/ 3798846 w 5348246"/>
                <a:gd name="connsiteY20" fmla="*/ 2235200 h 5080000"/>
                <a:gd name="connsiteX21" fmla="*/ 3925846 w 5348246"/>
                <a:gd name="connsiteY21" fmla="*/ 2425700 h 5080000"/>
                <a:gd name="connsiteX22" fmla="*/ 4306846 w 5348246"/>
                <a:gd name="connsiteY22" fmla="*/ 1638300 h 5080000"/>
                <a:gd name="connsiteX23" fmla="*/ 4725946 w 5348246"/>
                <a:gd name="connsiteY23" fmla="*/ 1155700 h 5080000"/>
                <a:gd name="connsiteX24" fmla="*/ 5170446 w 5348246"/>
                <a:gd name="connsiteY24" fmla="*/ 1193800 h 5080000"/>
                <a:gd name="connsiteX25" fmla="*/ 5348246 w 5348246"/>
                <a:gd name="connsiteY25" fmla="*/ 1358900 h 5080000"/>
                <a:gd name="connsiteX26" fmla="*/ 4916446 w 5348246"/>
                <a:gd name="connsiteY26" fmla="*/ 1841500 h 5080000"/>
                <a:gd name="connsiteX27" fmla="*/ 4268746 w 5348246"/>
                <a:gd name="connsiteY27" fmla="*/ 4140200 h 5080000"/>
                <a:gd name="connsiteX28" fmla="*/ 3887746 w 5348246"/>
                <a:gd name="connsiteY28" fmla="*/ 4686300 h 5080000"/>
                <a:gd name="connsiteX29" fmla="*/ 3265446 w 5348246"/>
                <a:gd name="connsiteY29" fmla="*/ 4991100 h 5080000"/>
                <a:gd name="connsiteX30" fmla="*/ 2909846 w 5348246"/>
                <a:gd name="connsiteY30" fmla="*/ 5080000 h 5080000"/>
                <a:gd name="connsiteX0" fmla="*/ 2909846 w 5348246"/>
                <a:gd name="connsiteY0" fmla="*/ 5401837 h 5401837"/>
                <a:gd name="connsiteX1" fmla="*/ 2909846 w 5348246"/>
                <a:gd name="connsiteY1" fmla="*/ 5401837 h 5401837"/>
                <a:gd name="connsiteX2" fmla="*/ 2257066 w 5348246"/>
                <a:gd name="connsiteY2" fmla="*/ 5287537 h 5401837"/>
                <a:gd name="connsiteX3" fmla="*/ 1665246 w 5348246"/>
                <a:gd name="connsiteY3" fmla="*/ 4779537 h 5401837"/>
                <a:gd name="connsiteX4" fmla="*/ 1124226 w 5348246"/>
                <a:gd name="connsiteY4" fmla="*/ 3758457 h 5401837"/>
                <a:gd name="connsiteX5" fmla="*/ 16786 w 5348246"/>
                <a:gd name="connsiteY5" fmla="*/ 2135397 h 5401837"/>
                <a:gd name="connsiteX6" fmla="*/ 514626 w 5348246"/>
                <a:gd name="connsiteY6" fmla="*/ 1784877 h 5401837"/>
                <a:gd name="connsiteX7" fmla="*/ 1309646 w 5348246"/>
                <a:gd name="connsiteY7" fmla="*/ 2950737 h 5401837"/>
                <a:gd name="connsiteX8" fmla="*/ 1512846 w 5348246"/>
                <a:gd name="connsiteY8" fmla="*/ 3052337 h 5401837"/>
                <a:gd name="connsiteX9" fmla="*/ 1550946 w 5348246"/>
                <a:gd name="connsiteY9" fmla="*/ 2963437 h 5401837"/>
                <a:gd name="connsiteX10" fmla="*/ 585746 w 5348246"/>
                <a:gd name="connsiteY10" fmla="*/ 1160037 h 5401837"/>
                <a:gd name="connsiteX11" fmla="*/ 1258846 w 5348246"/>
                <a:gd name="connsiteY11" fmla="*/ 944137 h 5401837"/>
                <a:gd name="connsiteX12" fmla="*/ 1995446 w 5348246"/>
                <a:gd name="connsiteY12" fmla="*/ 2417337 h 5401837"/>
                <a:gd name="connsiteX13" fmla="*/ 2178326 w 5348246"/>
                <a:gd name="connsiteY13" fmla="*/ 2300497 h 5401837"/>
                <a:gd name="connsiteX14" fmla="*/ 1538246 w 5348246"/>
                <a:gd name="connsiteY14" fmla="*/ 525037 h 5401837"/>
                <a:gd name="connsiteX15" fmla="*/ 2122446 w 5348246"/>
                <a:gd name="connsiteY15" fmla="*/ 321837 h 5401837"/>
                <a:gd name="connsiteX16" fmla="*/ 2838726 w 5348246"/>
                <a:gd name="connsiteY16" fmla="*/ 2094757 h 5401837"/>
                <a:gd name="connsiteX17" fmla="*/ 3039386 w 5348246"/>
                <a:gd name="connsiteY17" fmla="*/ 2061737 h 5401837"/>
                <a:gd name="connsiteX18" fmla="*/ 2859046 w 5348246"/>
                <a:gd name="connsiteY18" fmla="*/ 486937 h 5401837"/>
                <a:gd name="connsiteX19" fmla="*/ 3544846 w 5348246"/>
                <a:gd name="connsiteY19" fmla="*/ 359937 h 5401837"/>
                <a:gd name="connsiteX20" fmla="*/ 3798846 w 5348246"/>
                <a:gd name="connsiteY20" fmla="*/ 2557037 h 5401837"/>
                <a:gd name="connsiteX21" fmla="*/ 3925846 w 5348246"/>
                <a:gd name="connsiteY21" fmla="*/ 2747537 h 5401837"/>
                <a:gd name="connsiteX22" fmla="*/ 4306846 w 5348246"/>
                <a:gd name="connsiteY22" fmla="*/ 1960137 h 5401837"/>
                <a:gd name="connsiteX23" fmla="*/ 4725946 w 5348246"/>
                <a:gd name="connsiteY23" fmla="*/ 1477537 h 5401837"/>
                <a:gd name="connsiteX24" fmla="*/ 5170446 w 5348246"/>
                <a:gd name="connsiteY24" fmla="*/ 1515637 h 5401837"/>
                <a:gd name="connsiteX25" fmla="*/ 5348246 w 5348246"/>
                <a:gd name="connsiteY25" fmla="*/ 1680737 h 5401837"/>
                <a:gd name="connsiteX26" fmla="*/ 4916446 w 5348246"/>
                <a:gd name="connsiteY26" fmla="*/ 2163337 h 5401837"/>
                <a:gd name="connsiteX27" fmla="*/ 4268746 w 5348246"/>
                <a:gd name="connsiteY27" fmla="*/ 4462037 h 5401837"/>
                <a:gd name="connsiteX28" fmla="*/ 3887746 w 5348246"/>
                <a:gd name="connsiteY28" fmla="*/ 5008137 h 5401837"/>
                <a:gd name="connsiteX29" fmla="*/ 3265446 w 5348246"/>
                <a:gd name="connsiteY29" fmla="*/ 5312937 h 5401837"/>
                <a:gd name="connsiteX30" fmla="*/ 2909846 w 5348246"/>
                <a:gd name="connsiteY30" fmla="*/ 5401837 h 5401837"/>
                <a:gd name="connsiteX0" fmla="*/ 2909846 w 5348246"/>
                <a:gd name="connsiteY0" fmla="*/ 5502315 h 5502315"/>
                <a:gd name="connsiteX1" fmla="*/ 2909846 w 5348246"/>
                <a:gd name="connsiteY1" fmla="*/ 5502315 h 5502315"/>
                <a:gd name="connsiteX2" fmla="*/ 2257066 w 5348246"/>
                <a:gd name="connsiteY2" fmla="*/ 5388015 h 5502315"/>
                <a:gd name="connsiteX3" fmla="*/ 1665246 w 5348246"/>
                <a:gd name="connsiteY3" fmla="*/ 4880015 h 5502315"/>
                <a:gd name="connsiteX4" fmla="*/ 1124226 w 5348246"/>
                <a:gd name="connsiteY4" fmla="*/ 3858935 h 5502315"/>
                <a:gd name="connsiteX5" fmla="*/ 16786 w 5348246"/>
                <a:gd name="connsiteY5" fmla="*/ 2235875 h 5502315"/>
                <a:gd name="connsiteX6" fmla="*/ 514626 w 5348246"/>
                <a:gd name="connsiteY6" fmla="*/ 1885355 h 5502315"/>
                <a:gd name="connsiteX7" fmla="*/ 1309646 w 5348246"/>
                <a:gd name="connsiteY7" fmla="*/ 3051215 h 5502315"/>
                <a:gd name="connsiteX8" fmla="*/ 1512846 w 5348246"/>
                <a:gd name="connsiteY8" fmla="*/ 3152815 h 5502315"/>
                <a:gd name="connsiteX9" fmla="*/ 1550946 w 5348246"/>
                <a:gd name="connsiteY9" fmla="*/ 3063915 h 5502315"/>
                <a:gd name="connsiteX10" fmla="*/ 585746 w 5348246"/>
                <a:gd name="connsiteY10" fmla="*/ 1260515 h 5502315"/>
                <a:gd name="connsiteX11" fmla="*/ 1258846 w 5348246"/>
                <a:gd name="connsiteY11" fmla="*/ 1044615 h 5502315"/>
                <a:gd name="connsiteX12" fmla="*/ 1995446 w 5348246"/>
                <a:gd name="connsiteY12" fmla="*/ 2517815 h 5502315"/>
                <a:gd name="connsiteX13" fmla="*/ 2178326 w 5348246"/>
                <a:gd name="connsiteY13" fmla="*/ 2400975 h 5502315"/>
                <a:gd name="connsiteX14" fmla="*/ 1538246 w 5348246"/>
                <a:gd name="connsiteY14" fmla="*/ 625515 h 5502315"/>
                <a:gd name="connsiteX15" fmla="*/ 2122446 w 5348246"/>
                <a:gd name="connsiteY15" fmla="*/ 422315 h 5502315"/>
                <a:gd name="connsiteX16" fmla="*/ 2838726 w 5348246"/>
                <a:gd name="connsiteY16" fmla="*/ 2195235 h 5502315"/>
                <a:gd name="connsiteX17" fmla="*/ 3039386 w 5348246"/>
                <a:gd name="connsiteY17" fmla="*/ 2162215 h 5502315"/>
                <a:gd name="connsiteX18" fmla="*/ 2859046 w 5348246"/>
                <a:gd name="connsiteY18" fmla="*/ 587415 h 5502315"/>
                <a:gd name="connsiteX19" fmla="*/ 3544846 w 5348246"/>
                <a:gd name="connsiteY19" fmla="*/ 460415 h 5502315"/>
                <a:gd name="connsiteX20" fmla="*/ 3798846 w 5348246"/>
                <a:gd name="connsiteY20" fmla="*/ 2657515 h 5502315"/>
                <a:gd name="connsiteX21" fmla="*/ 3925846 w 5348246"/>
                <a:gd name="connsiteY21" fmla="*/ 2848015 h 5502315"/>
                <a:gd name="connsiteX22" fmla="*/ 4306846 w 5348246"/>
                <a:gd name="connsiteY22" fmla="*/ 2060615 h 5502315"/>
                <a:gd name="connsiteX23" fmla="*/ 4725946 w 5348246"/>
                <a:gd name="connsiteY23" fmla="*/ 1578015 h 5502315"/>
                <a:gd name="connsiteX24" fmla="*/ 5170446 w 5348246"/>
                <a:gd name="connsiteY24" fmla="*/ 1616115 h 5502315"/>
                <a:gd name="connsiteX25" fmla="*/ 5348246 w 5348246"/>
                <a:gd name="connsiteY25" fmla="*/ 1781215 h 5502315"/>
                <a:gd name="connsiteX26" fmla="*/ 4916446 w 5348246"/>
                <a:gd name="connsiteY26" fmla="*/ 2263815 h 5502315"/>
                <a:gd name="connsiteX27" fmla="*/ 4268746 w 5348246"/>
                <a:gd name="connsiteY27" fmla="*/ 4562515 h 5502315"/>
                <a:gd name="connsiteX28" fmla="*/ 3887746 w 5348246"/>
                <a:gd name="connsiteY28" fmla="*/ 5108615 h 5502315"/>
                <a:gd name="connsiteX29" fmla="*/ 3265446 w 5348246"/>
                <a:gd name="connsiteY29" fmla="*/ 5413415 h 5502315"/>
                <a:gd name="connsiteX30" fmla="*/ 2909846 w 5348246"/>
                <a:gd name="connsiteY30" fmla="*/ 5502315 h 5502315"/>
                <a:gd name="connsiteX0" fmla="*/ 2909846 w 5348246"/>
                <a:gd name="connsiteY0" fmla="*/ 5571354 h 5571354"/>
                <a:gd name="connsiteX1" fmla="*/ 2909846 w 5348246"/>
                <a:gd name="connsiteY1" fmla="*/ 5571354 h 5571354"/>
                <a:gd name="connsiteX2" fmla="*/ 2257066 w 5348246"/>
                <a:gd name="connsiteY2" fmla="*/ 5457054 h 5571354"/>
                <a:gd name="connsiteX3" fmla="*/ 1665246 w 5348246"/>
                <a:gd name="connsiteY3" fmla="*/ 4949054 h 5571354"/>
                <a:gd name="connsiteX4" fmla="*/ 1124226 w 5348246"/>
                <a:gd name="connsiteY4" fmla="*/ 3927974 h 5571354"/>
                <a:gd name="connsiteX5" fmla="*/ 16786 w 5348246"/>
                <a:gd name="connsiteY5" fmla="*/ 2304914 h 5571354"/>
                <a:gd name="connsiteX6" fmla="*/ 514626 w 5348246"/>
                <a:gd name="connsiteY6" fmla="*/ 1954394 h 5571354"/>
                <a:gd name="connsiteX7" fmla="*/ 1309646 w 5348246"/>
                <a:gd name="connsiteY7" fmla="*/ 3120254 h 5571354"/>
                <a:gd name="connsiteX8" fmla="*/ 1512846 w 5348246"/>
                <a:gd name="connsiteY8" fmla="*/ 3221854 h 5571354"/>
                <a:gd name="connsiteX9" fmla="*/ 1550946 w 5348246"/>
                <a:gd name="connsiteY9" fmla="*/ 3132954 h 5571354"/>
                <a:gd name="connsiteX10" fmla="*/ 585746 w 5348246"/>
                <a:gd name="connsiteY10" fmla="*/ 1329554 h 5571354"/>
                <a:gd name="connsiteX11" fmla="*/ 1258846 w 5348246"/>
                <a:gd name="connsiteY11" fmla="*/ 1113654 h 5571354"/>
                <a:gd name="connsiteX12" fmla="*/ 1995446 w 5348246"/>
                <a:gd name="connsiteY12" fmla="*/ 2586854 h 5571354"/>
                <a:gd name="connsiteX13" fmla="*/ 2178326 w 5348246"/>
                <a:gd name="connsiteY13" fmla="*/ 2470014 h 5571354"/>
                <a:gd name="connsiteX14" fmla="*/ 1538246 w 5348246"/>
                <a:gd name="connsiteY14" fmla="*/ 694554 h 5571354"/>
                <a:gd name="connsiteX15" fmla="*/ 2122446 w 5348246"/>
                <a:gd name="connsiteY15" fmla="*/ 491354 h 5571354"/>
                <a:gd name="connsiteX16" fmla="*/ 2838726 w 5348246"/>
                <a:gd name="connsiteY16" fmla="*/ 2264274 h 5571354"/>
                <a:gd name="connsiteX17" fmla="*/ 3039386 w 5348246"/>
                <a:gd name="connsiteY17" fmla="*/ 2231254 h 5571354"/>
                <a:gd name="connsiteX18" fmla="*/ 2859046 w 5348246"/>
                <a:gd name="connsiteY18" fmla="*/ 656454 h 5571354"/>
                <a:gd name="connsiteX19" fmla="*/ 3544846 w 5348246"/>
                <a:gd name="connsiteY19" fmla="*/ 529454 h 5571354"/>
                <a:gd name="connsiteX20" fmla="*/ 3798846 w 5348246"/>
                <a:gd name="connsiteY20" fmla="*/ 2726554 h 5571354"/>
                <a:gd name="connsiteX21" fmla="*/ 3925846 w 5348246"/>
                <a:gd name="connsiteY21" fmla="*/ 2917054 h 5571354"/>
                <a:gd name="connsiteX22" fmla="*/ 4306846 w 5348246"/>
                <a:gd name="connsiteY22" fmla="*/ 2129654 h 5571354"/>
                <a:gd name="connsiteX23" fmla="*/ 4725946 w 5348246"/>
                <a:gd name="connsiteY23" fmla="*/ 1647054 h 5571354"/>
                <a:gd name="connsiteX24" fmla="*/ 5170446 w 5348246"/>
                <a:gd name="connsiteY24" fmla="*/ 1685154 h 5571354"/>
                <a:gd name="connsiteX25" fmla="*/ 5348246 w 5348246"/>
                <a:gd name="connsiteY25" fmla="*/ 1850254 h 5571354"/>
                <a:gd name="connsiteX26" fmla="*/ 4916446 w 5348246"/>
                <a:gd name="connsiteY26" fmla="*/ 2332854 h 5571354"/>
                <a:gd name="connsiteX27" fmla="*/ 4268746 w 5348246"/>
                <a:gd name="connsiteY27" fmla="*/ 4631554 h 5571354"/>
                <a:gd name="connsiteX28" fmla="*/ 3887746 w 5348246"/>
                <a:gd name="connsiteY28" fmla="*/ 5177654 h 5571354"/>
                <a:gd name="connsiteX29" fmla="*/ 3265446 w 5348246"/>
                <a:gd name="connsiteY29" fmla="*/ 5482454 h 5571354"/>
                <a:gd name="connsiteX30" fmla="*/ 2909846 w 5348246"/>
                <a:gd name="connsiteY30" fmla="*/ 5571354 h 5571354"/>
                <a:gd name="connsiteX0" fmla="*/ 2909846 w 5348246"/>
                <a:gd name="connsiteY0" fmla="*/ 5195654 h 5195654"/>
                <a:gd name="connsiteX1" fmla="*/ 2909846 w 5348246"/>
                <a:gd name="connsiteY1" fmla="*/ 5195654 h 5195654"/>
                <a:gd name="connsiteX2" fmla="*/ 2257066 w 5348246"/>
                <a:gd name="connsiteY2" fmla="*/ 5081354 h 5195654"/>
                <a:gd name="connsiteX3" fmla="*/ 1665246 w 5348246"/>
                <a:gd name="connsiteY3" fmla="*/ 4573354 h 5195654"/>
                <a:gd name="connsiteX4" fmla="*/ 1124226 w 5348246"/>
                <a:gd name="connsiteY4" fmla="*/ 3552274 h 5195654"/>
                <a:gd name="connsiteX5" fmla="*/ 16786 w 5348246"/>
                <a:gd name="connsiteY5" fmla="*/ 1929214 h 5195654"/>
                <a:gd name="connsiteX6" fmla="*/ 514626 w 5348246"/>
                <a:gd name="connsiteY6" fmla="*/ 1578694 h 5195654"/>
                <a:gd name="connsiteX7" fmla="*/ 1309646 w 5348246"/>
                <a:gd name="connsiteY7" fmla="*/ 2744554 h 5195654"/>
                <a:gd name="connsiteX8" fmla="*/ 1512846 w 5348246"/>
                <a:gd name="connsiteY8" fmla="*/ 2846154 h 5195654"/>
                <a:gd name="connsiteX9" fmla="*/ 1550946 w 5348246"/>
                <a:gd name="connsiteY9" fmla="*/ 2757254 h 5195654"/>
                <a:gd name="connsiteX10" fmla="*/ 585746 w 5348246"/>
                <a:gd name="connsiteY10" fmla="*/ 953854 h 5195654"/>
                <a:gd name="connsiteX11" fmla="*/ 1258846 w 5348246"/>
                <a:gd name="connsiteY11" fmla="*/ 737954 h 5195654"/>
                <a:gd name="connsiteX12" fmla="*/ 1995446 w 5348246"/>
                <a:gd name="connsiteY12" fmla="*/ 2211154 h 5195654"/>
                <a:gd name="connsiteX13" fmla="*/ 2178326 w 5348246"/>
                <a:gd name="connsiteY13" fmla="*/ 2094314 h 5195654"/>
                <a:gd name="connsiteX14" fmla="*/ 1705886 w 5348246"/>
                <a:gd name="connsiteY14" fmla="*/ 890354 h 5195654"/>
                <a:gd name="connsiteX15" fmla="*/ 2122446 w 5348246"/>
                <a:gd name="connsiteY15" fmla="*/ 115654 h 5195654"/>
                <a:gd name="connsiteX16" fmla="*/ 2838726 w 5348246"/>
                <a:gd name="connsiteY16" fmla="*/ 1888574 h 5195654"/>
                <a:gd name="connsiteX17" fmla="*/ 3039386 w 5348246"/>
                <a:gd name="connsiteY17" fmla="*/ 1855554 h 5195654"/>
                <a:gd name="connsiteX18" fmla="*/ 2859046 w 5348246"/>
                <a:gd name="connsiteY18" fmla="*/ 280754 h 5195654"/>
                <a:gd name="connsiteX19" fmla="*/ 3544846 w 5348246"/>
                <a:gd name="connsiteY19" fmla="*/ 153754 h 5195654"/>
                <a:gd name="connsiteX20" fmla="*/ 3798846 w 5348246"/>
                <a:gd name="connsiteY20" fmla="*/ 2350854 h 5195654"/>
                <a:gd name="connsiteX21" fmla="*/ 3925846 w 5348246"/>
                <a:gd name="connsiteY21" fmla="*/ 2541354 h 5195654"/>
                <a:gd name="connsiteX22" fmla="*/ 4306846 w 5348246"/>
                <a:gd name="connsiteY22" fmla="*/ 1753954 h 5195654"/>
                <a:gd name="connsiteX23" fmla="*/ 4725946 w 5348246"/>
                <a:gd name="connsiteY23" fmla="*/ 1271354 h 5195654"/>
                <a:gd name="connsiteX24" fmla="*/ 5170446 w 5348246"/>
                <a:gd name="connsiteY24" fmla="*/ 1309454 h 5195654"/>
                <a:gd name="connsiteX25" fmla="*/ 5348246 w 5348246"/>
                <a:gd name="connsiteY25" fmla="*/ 1474554 h 5195654"/>
                <a:gd name="connsiteX26" fmla="*/ 4916446 w 5348246"/>
                <a:gd name="connsiteY26" fmla="*/ 1957154 h 5195654"/>
                <a:gd name="connsiteX27" fmla="*/ 4268746 w 5348246"/>
                <a:gd name="connsiteY27" fmla="*/ 4255854 h 5195654"/>
                <a:gd name="connsiteX28" fmla="*/ 3887746 w 5348246"/>
                <a:gd name="connsiteY28" fmla="*/ 4801954 h 5195654"/>
                <a:gd name="connsiteX29" fmla="*/ 3265446 w 5348246"/>
                <a:gd name="connsiteY29" fmla="*/ 5106754 h 5195654"/>
                <a:gd name="connsiteX30" fmla="*/ 2909846 w 5348246"/>
                <a:gd name="connsiteY30" fmla="*/ 5195654 h 5195654"/>
                <a:gd name="connsiteX0" fmla="*/ 2909846 w 5348246"/>
                <a:gd name="connsiteY0" fmla="*/ 5041900 h 5041900"/>
                <a:gd name="connsiteX1" fmla="*/ 2909846 w 5348246"/>
                <a:gd name="connsiteY1" fmla="*/ 5041900 h 5041900"/>
                <a:gd name="connsiteX2" fmla="*/ 2257066 w 5348246"/>
                <a:gd name="connsiteY2" fmla="*/ 4927600 h 5041900"/>
                <a:gd name="connsiteX3" fmla="*/ 1665246 w 5348246"/>
                <a:gd name="connsiteY3" fmla="*/ 4419600 h 5041900"/>
                <a:gd name="connsiteX4" fmla="*/ 1124226 w 5348246"/>
                <a:gd name="connsiteY4" fmla="*/ 3398520 h 5041900"/>
                <a:gd name="connsiteX5" fmla="*/ 16786 w 5348246"/>
                <a:gd name="connsiteY5" fmla="*/ 1775460 h 5041900"/>
                <a:gd name="connsiteX6" fmla="*/ 514626 w 5348246"/>
                <a:gd name="connsiteY6" fmla="*/ 1424940 h 5041900"/>
                <a:gd name="connsiteX7" fmla="*/ 1309646 w 5348246"/>
                <a:gd name="connsiteY7" fmla="*/ 2590800 h 5041900"/>
                <a:gd name="connsiteX8" fmla="*/ 1512846 w 5348246"/>
                <a:gd name="connsiteY8" fmla="*/ 2692400 h 5041900"/>
                <a:gd name="connsiteX9" fmla="*/ 1550946 w 5348246"/>
                <a:gd name="connsiteY9" fmla="*/ 2603500 h 5041900"/>
                <a:gd name="connsiteX10" fmla="*/ 585746 w 5348246"/>
                <a:gd name="connsiteY10" fmla="*/ 800100 h 5041900"/>
                <a:gd name="connsiteX11" fmla="*/ 1258846 w 5348246"/>
                <a:gd name="connsiteY11" fmla="*/ 584200 h 5041900"/>
                <a:gd name="connsiteX12" fmla="*/ 1995446 w 5348246"/>
                <a:gd name="connsiteY12" fmla="*/ 2057400 h 5041900"/>
                <a:gd name="connsiteX13" fmla="*/ 2178326 w 5348246"/>
                <a:gd name="connsiteY13" fmla="*/ 1940560 h 5041900"/>
                <a:gd name="connsiteX14" fmla="*/ 1705886 w 5348246"/>
                <a:gd name="connsiteY14" fmla="*/ 736600 h 5041900"/>
                <a:gd name="connsiteX15" fmla="*/ 2191026 w 5348246"/>
                <a:gd name="connsiteY15" fmla="*/ 83820 h 5041900"/>
                <a:gd name="connsiteX16" fmla="*/ 2838726 w 5348246"/>
                <a:gd name="connsiteY16" fmla="*/ 1734820 h 5041900"/>
                <a:gd name="connsiteX17" fmla="*/ 3039386 w 5348246"/>
                <a:gd name="connsiteY17" fmla="*/ 1701800 h 5041900"/>
                <a:gd name="connsiteX18" fmla="*/ 2859046 w 5348246"/>
                <a:gd name="connsiteY18" fmla="*/ 127000 h 5041900"/>
                <a:gd name="connsiteX19" fmla="*/ 3544846 w 5348246"/>
                <a:gd name="connsiteY19" fmla="*/ 0 h 5041900"/>
                <a:gd name="connsiteX20" fmla="*/ 3798846 w 5348246"/>
                <a:gd name="connsiteY20" fmla="*/ 2197100 h 5041900"/>
                <a:gd name="connsiteX21" fmla="*/ 3925846 w 5348246"/>
                <a:gd name="connsiteY21" fmla="*/ 2387600 h 5041900"/>
                <a:gd name="connsiteX22" fmla="*/ 4306846 w 5348246"/>
                <a:gd name="connsiteY22" fmla="*/ 1600200 h 5041900"/>
                <a:gd name="connsiteX23" fmla="*/ 4725946 w 5348246"/>
                <a:gd name="connsiteY23" fmla="*/ 1117600 h 5041900"/>
                <a:gd name="connsiteX24" fmla="*/ 5170446 w 5348246"/>
                <a:gd name="connsiteY24" fmla="*/ 1155700 h 5041900"/>
                <a:gd name="connsiteX25" fmla="*/ 5348246 w 5348246"/>
                <a:gd name="connsiteY25" fmla="*/ 1320800 h 5041900"/>
                <a:gd name="connsiteX26" fmla="*/ 4916446 w 5348246"/>
                <a:gd name="connsiteY26" fmla="*/ 1803400 h 5041900"/>
                <a:gd name="connsiteX27" fmla="*/ 4268746 w 5348246"/>
                <a:gd name="connsiteY27" fmla="*/ 4102100 h 5041900"/>
                <a:gd name="connsiteX28" fmla="*/ 3887746 w 5348246"/>
                <a:gd name="connsiteY28" fmla="*/ 4648200 h 5041900"/>
                <a:gd name="connsiteX29" fmla="*/ 3265446 w 5348246"/>
                <a:gd name="connsiteY29" fmla="*/ 4953000 h 5041900"/>
                <a:gd name="connsiteX30" fmla="*/ 2909846 w 5348246"/>
                <a:gd name="connsiteY30" fmla="*/ 5041900 h 5041900"/>
                <a:gd name="connsiteX0" fmla="*/ 2909846 w 5348246"/>
                <a:gd name="connsiteY0" fmla="*/ 5214147 h 5214147"/>
                <a:gd name="connsiteX1" fmla="*/ 2909846 w 5348246"/>
                <a:gd name="connsiteY1" fmla="*/ 5214147 h 5214147"/>
                <a:gd name="connsiteX2" fmla="*/ 2257066 w 5348246"/>
                <a:gd name="connsiteY2" fmla="*/ 5099847 h 5214147"/>
                <a:gd name="connsiteX3" fmla="*/ 1665246 w 5348246"/>
                <a:gd name="connsiteY3" fmla="*/ 4591847 h 5214147"/>
                <a:gd name="connsiteX4" fmla="*/ 1124226 w 5348246"/>
                <a:gd name="connsiteY4" fmla="*/ 3570767 h 5214147"/>
                <a:gd name="connsiteX5" fmla="*/ 16786 w 5348246"/>
                <a:gd name="connsiteY5" fmla="*/ 1947707 h 5214147"/>
                <a:gd name="connsiteX6" fmla="*/ 514626 w 5348246"/>
                <a:gd name="connsiteY6" fmla="*/ 1597187 h 5214147"/>
                <a:gd name="connsiteX7" fmla="*/ 1309646 w 5348246"/>
                <a:gd name="connsiteY7" fmla="*/ 2763047 h 5214147"/>
                <a:gd name="connsiteX8" fmla="*/ 1512846 w 5348246"/>
                <a:gd name="connsiteY8" fmla="*/ 2864647 h 5214147"/>
                <a:gd name="connsiteX9" fmla="*/ 1550946 w 5348246"/>
                <a:gd name="connsiteY9" fmla="*/ 2775747 h 5214147"/>
                <a:gd name="connsiteX10" fmla="*/ 585746 w 5348246"/>
                <a:gd name="connsiteY10" fmla="*/ 972347 h 5214147"/>
                <a:gd name="connsiteX11" fmla="*/ 1258846 w 5348246"/>
                <a:gd name="connsiteY11" fmla="*/ 756447 h 5214147"/>
                <a:gd name="connsiteX12" fmla="*/ 1995446 w 5348246"/>
                <a:gd name="connsiteY12" fmla="*/ 2229647 h 5214147"/>
                <a:gd name="connsiteX13" fmla="*/ 2178326 w 5348246"/>
                <a:gd name="connsiteY13" fmla="*/ 2112807 h 5214147"/>
                <a:gd name="connsiteX14" fmla="*/ 1705886 w 5348246"/>
                <a:gd name="connsiteY14" fmla="*/ 908847 h 5214147"/>
                <a:gd name="connsiteX15" fmla="*/ 2191026 w 5348246"/>
                <a:gd name="connsiteY15" fmla="*/ 256067 h 5214147"/>
                <a:gd name="connsiteX16" fmla="*/ 2838726 w 5348246"/>
                <a:gd name="connsiteY16" fmla="*/ 1907067 h 5214147"/>
                <a:gd name="connsiteX17" fmla="*/ 3039386 w 5348246"/>
                <a:gd name="connsiteY17" fmla="*/ 1874047 h 5214147"/>
                <a:gd name="connsiteX18" fmla="*/ 2859046 w 5348246"/>
                <a:gd name="connsiteY18" fmla="*/ 299247 h 5214147"/>
                <a:gd name="connsiteX19" fmla="*/ 3544846 w 5348246"/>
                <a:gd name="connsiteY19" fmla="*/ 172247 h 5214147"/>
                <a:gd name="connsiteX20" fmla="*/ 3798846 w 5348246"/>
                <a:gd name="connsiteY20" fmla="*/ 2369347 h 5214147"/>
                <a:gd name="connsiteX21" fmla="*/ 3925846 w 5348246"/>
                <a:gd name="connsiteY21" fmla="*/ 2559847 h 5214147"/>
                <a:gd name="connsiteX22" fmla="*/ 4306846 w 5348246"/>
                <a:gd name="connsiteY22" fmla="*/ 1772447 h 5214147"/>
                <a:gd name="connsiteX23" fmla="*/ 4725946 w 5348246"/>
                <a:gd name="connsiteY23" fmla="*/ 1289847 h 5214147"/>
                <a:gd name="connsiteX24" fmla="*/ 5170446 w 5348246"/>
                <a:gd name="connsiteY24" fmla="*/ 1327947 h 5214147"/>
                <a:gd name="connsiteX25" fmla="*/ 5348246 w 5348246"/>
                <a:gd name="connsiteY25" fmla="*/ 1493047 h 5214147"/>
                <a:gd name="connsiteX26" fmla="*/ 4916446 w 5348246"/>
                <a:gd name="connsiteY26" fmla="*/ 1975647 h 5214147"/>
                <a:gd name="connsiteX27" fmla="*/ 4268746 w 5348246"/>
                <a:gd name="connsiteY27" fmla="*/ 4274347 h 5214147"/>
                <a:gd name="connsiteX28" fmla="*/ 3887746 w 5348246"/>
                <a:gd name="connsiteY28" fmla="*/ 4820447 h 5214147"/>
                <a:gd name="connsiteX29" fmla="*/ 3265446 w 5348246"/>
                <a:gd name="connsiteY29" fmla="*/ 5125247 h 5214147"/>
                <a:gd name="connsiteX30" fmla="*/ 2909846 w 5348246"/>
                <a:gd name="connsiteY30" fmla="*/ 5214147 h 5214147"/>
                <a:gd name="connsiteX0" fmla="*/ 2909846 w 5348246"/>
                <a:gd name="connsiteY0" fmla="*/ 5076421 h 5076421"/>
                <a:gd name="connsiteX1" fmla="*/ 2909846 w 5348246"/>
                <a:gd name="connsiteY1" fmla="*/ 5076421 h 5076421"/>
                <a:gd name="connsiteX2" fmla="*/ 2257066 w 5348246"/>
                <a:gd name="connsiteY2" fmla="*/ 4962121 h 5076421"/>
                <a:gd name="connsiteX3" fmla="*/ 1665246 w 5348246"/>
                <a:gd name="connsiteY3" fmla="*/ 4454121 h 5076421"/>
                <a:gd name="connsiteX4" fmla="*/ 1124226 w 5348246"/>
                <a:gd name="connsiteY4" fmla="*/ 3433041 h 5076421"/>
                <a:gd name="connsiteX5" fmla="*/ 16786 w 5348246"/>
                <a:gd name="connsiteY5" fmla="*/ 1809981 h 5076421"/>
                <a:gd name="connsiteX6" fmla="*/ 514626 w 5348246"/>
                <a:gd name="connsiteY6" fmla="*/ 1459461 h 5076421"/>
                <a:gd name="connsiteX7" fmla="*/ 1309646 w 5348246"/>
                <a:gd name="connsiteY7" fmla="*/ 2625321 h 5076421"/>
                <a:gd name="connsiteX8" fmla="*/ 1512846 w 5348246"/>
                <a:gd name="connsiteY8" fmla="*/ 2726921 h 5076421"/>
                <a:gd name="connsiteX9" fmla="*/ 1550946 w 5348246"/>
                <a:gd name="connsiteY9" fmla="*/ 2638021 h 5076421"/>
                <a:gd name="connsiteX10" fmla="*/ 585746 w 5348246"/>
                <a:gd name="connsiteY10" fmla="*/ 834621 h 5076421"/>
                <a:gd name="connsiteX11" fmla="*/ 1258846 w 5348246"/>
                <a:gd name="connsiteY11" fmla="*/ 618721 h 5076421"/>
                <a:gd name="connsiteX12" fmla="*/ 1995446 w 5348246"/>
                <a:gd name="connsiteY12" fmla="*/ 2091921 h 5076421"/>
                <a:gd name="connsiteX13" fmla="*/ 2178326 w 5348246"/>
                <a:gd name="connsiteY13" fmla="*/ 1975081 h 5076421"/>
                <a:gd name="connsiteX14" fmla="*/ 1606826 w 5348246"/>
                <a:gd name="connsiteY14" fmla="*/ 336781 h 5076421"/>
                <a:gd name="connsiteX15" fmla="*/ 2191026 w 5348246"/>
                <a:gd name="connsiteY15" fmla="*/ 118341 h 5076421"/>
                <a:gd name="connsiteX16" fmla="*/ 2838726 w 5348246"/>
                <a:gd name="connsiteY16" fmla="*/ 1769341 h 5076421"/>
                <a:gd name="connsiteX17" fmla="*/ 3039386 w 5348246"/>
                <a:gd name="connsiteY17" fmla="*/ 1736321 h 5076421"/>
                <a:gd name="connsiteX18" fmla="*/ 2859046 w 5348246"/>
                <a:gd name="connsiteY18" fmla="*/ 161521 h 5076421"/>
                <a:gd name="connsiteX19" fmla="*/ 3544846 w 5348246"/>
                <a:gd name="connsiteY19" fmla="*/ 34521 h 5076421"/>
                <a:gd name="connsiteX20" fmla="*/ 3798846 w 5348246"/>
                <a:gd name="connsiteY20" fmla="*/ 2231621 h 5076421"/>
                <a:gd name="connsiteX21" fmla="*/ 3925846 w 5348246"/>
                <a:gd name="connsiteY21" fmla="*/ 2422121 h 5076421"/>
                <a:gd name="connsiteX22" fmla="*/ 4306846 w 5348246"/>
                <a:gd name="connsiteY22" fmla="*/ 1634721 h 5076421"/>
                <a:gd name="connsiteX23" fmla="*/ 4725946 w 5348246"/>
                <a:gd name="connsiteY23" fmla="*/ 1152121 h 5076421"/>
                <a:gd name="connsiteX24" fmla="*/ 5170446 w 5348246"/>
                <a:gd name="connsiteY24" fmla="*/ 1190221 h 5076421"/>
                <a:gd name="connsiteX25" fmla="*/ 5348246 w 5348246"/>
                <a:gd name="connsiteY25" fmla="*/ 1355321 h 5076421"/>
                <a:gd name="connsiteX26" fmla="*/ 4916446 w 5348246"/>
                <a:gd name="connsiteY26" fmla="*/ 1837921 h 5076421"/>
                <a:gd name="connsiteX27" fmla="*/ 4268746 w 5348246"/>
                <a:gd name="connsiteY27" fmla="*/ 4136621 h 5076421"/>
                <a:gd name="connsiteX28" fmla="*/ 3887746 w 5348246"/>
                <a:gd name="connsiteY28" fmla="*/ 4682721 h 5076421"/>
                <a:gd name="connsiteX29" fmla="*/ 3265446 w 5348246"/>
                <a:gd name="connsiteY29" fmla="*/ 4987521 h 5076421"/>
                <a:gd name="connsiteX30" fmla="*/ 2909846 w 5348246"/>
                <a:gd name="connsiteY30" fmla="*/ 5076421 h 5076421"/>
                <a:gd name="connsiteX0" fmla="*/ 2909846 w 5348246"/>
                <a:gd name="connsiteY0" fmla="*/ 5069599 h 5069599"/>
                <a:gd name="connsiteX1" fmla="*/ 2909846 w 5348246"/>
                <a:gd name="connsiteY1" fmla="*/ 5069599 h 5069599"/>
                <a:gd name="connsiteX2" fmla="*/ 2257066 w 5348246"/>
                <a:gd name="connsiteY2" fmla="*/ 4955299 h 5069599"/>
                <a:gd name="connsiteX3" fmla="*/ 1665246 w 5348246"/>
                <a:gd name="connsiteY3" fmla="*/ 4447299 h 5069599"/>
                <a:gd name="connsiteX4" fmla="*/ 1124226 w 5348246"/>
                <a:gd name="connsiteY4" fmla="*/ 3426219 h 5069599"/>
                <a:gd name="connsiteX5" fmla="*/ 16786 w 5348246"/>
                <a:gd name="connsiteY5" fmla="*/ 1803159 h 5069599"/>
                <a:gd name="connsiteX6" fmla="*/ 514626 w 5348246"/>
                <a:gd name="connsiteY6" fmla="*/ 1452639 h 5069599"/>
                <a:gd name="connsiteX7" fmla="*/ 1309646 w 5348246"/>
                <a:gd name="connsiteY7" fmla="*/ 2618499 h 5069599"/>
                <a:gd name="connsiteX8" fmla="*/ 1512846 w 5348246"/>
                <a:gd name="connsiteY8" fmla="*/ 2720099 h 5069599"/>
                <a:gd name="connsiteX9" fmla="*/ 1550946 w 5348246"/>
                <a:gd name="connsiteY9" fmla="*/ 2631199 h 5069599"/>
                <a:gd name="connsiteX10" fmla="*/ 585746 w 5348246"/>
                <a:gd name="connsiteY10" fmla="*/ 827799 h 5069599"/>
                <a:gd name="connsiteX11" fmla="*/ 1258846 w 5348246"/>
                <a:gd name="connsiteY11" fmla="*/ 611899 h 5069599"/>
                <a:gd name="connsiteX12" fmla="*/ 1995446 w 5348246"/>
                <a:gd name="connsiteY12" fmla="*/ 2085099 h 5069599"/>
                <a:gd name="connsiteX13" fmla="*/ 2178326 w 5348246"/>
                <a:gd name="connsiteY13" fmla="*/ 1968259 h 5069599"/>
                <a:gd name="connsiteX14" fmla="*/ 1606826 w 5348246"/>
                <a:gd name="connsiteY14" fmla="*/ 329959 h 5069599"/>
                <a:gd name="connsiteX15" fmla="*/ 2191026 w 5348246"/>
                <a:gd name="connsiteY15" fmla="*/ 111519 h 5069599"/>
                <a:gd name="connsiteX16" fmla="*/ 2838726 w 5348246"/>
                <a:gd name="connsiteY16" fmla="*/ 1762519 h 5069599"/>
                <a:gd name="connsiteX17" fmla="*/ 3039386 w 5348246"/>
                <a:gd name="connsiteY17" fmla="*/ 1729499 h 5069599"/>
                <a:gd name="connsiteX18" fmla="*/ 2859046 w 5348246"/>
                <a:gd name="connsiteY18" fmla="*/ 154699 h 5069599"/>
                <a:gd name="connsiteX19" fmla="*/ 3544846 w 5348246"/>
                <a:gd name="connsiteY19" fmla="*/ 27699 h 5069599"/>
                <a:gd name="connsiteX20" fmla="*/ 3798846 w 5348246"/>
                <a:gd name="connsiteY20" fmla="*/ 2224799 h 5069599"/>
                <a:gd name="connsiteX21" fmla="*/ 3925846 w 5348246"/>
                <a:gd name="connsiteY21" fmla="*/ 2415299 h 5069599"/>
                <a:gd name="connsiteX22" fmla="*/ 4306846 w 5348246"/>
                <a:gd name="connsiteY22" fmla="*/ 1627899 h 5069599"/>
                <a:gd name="connsiteX23" fmla="*/ 4725946 w 5348246"/>
                <a:gd name="connsiteY23" fmla="*/ 1145299 h 5069599"/>
                <a:gd name="connsiteX24" fmla="*/ 5170446 w 5348246"/>
                <a:gd name="connsiteY24" fmla="*/ 1183399 h 5069599"/>
                <a:gd name="connsiteX25" fmla="*/ 5348246 w 5348246"/>
                <a:gd name="connsiteY25" fmla="*/ 1348499 h 5069599"/>
                <a:gd name="connsiteX26" fmla="*/ 4916446 w 5348246"/>
                <a:gd name="connsiteY26" fmla="*/ 1831099 h 5069599"/>
                <a:gd name="connsiteX27" fmla="*/ 4268746 w 5348246"/>
                <a:gd name="connsiteY27" fmla="*/ 4129799 h 5069599"/>
                <a:gd name="connsiteX28" fmla="*/ 3887746 w 5348246"/>
                <a:gd name="connsiteY28" fmla="*/ 4675899 h 5069599"/>
                <a:gd name="connsiteX29" fmla="*/ 3265446 w 5348246"/>
                <a:gd name="connsiteY29" fmla="*/ 4980699 h 5069599"/>
                <a:gd name="connsiteX30" fmla="*/ 2909846 w 5348246"/>
                <a:gd name="connsiteY30" fmla="*/ 5069599 h 5069599"/>
                <a:gd name="connsiteX0" fmla="*/ 2909846 w 5348246"/>
                <a:gd name="connsiteY0" fmla="*/ 5131096 h 5131096"/>
                <a:gd name="connsiteX1" fmla="*/ 2909846 w 5348246"/>
                <a:gd name="connsiteY1" fmla="*/ 5131096 h 5131096"/>
                <a:gd name="connsiteX2" fmla="*/ 2257066 w 5348246"/>
                <a:gd name="connsiteY2" fmla="*/ 5016796 h 5131096"/>
                <a:gd name="connsiteX3" fmla="*/ 1665246 w 5348246"/>
                <a:gd name="connsiteY3" fmla="*/ 4508796 h 5131096"/>
                <a:gd name="connsiteX4" fmla="*/ 1124226 w 5348246"/>
                <a:gd name="connsiteY4" fmla="*/ 3487716 h 5131096"/>
                <a:gd name="connsiteX5" fmla="*/ 16786 w 5348246"/>
                <a:gd name="connsiteY5" fmla="*/ 1864656 h 5131096"/>
                <a:gd name="connsiteX6" fmla="*/ 514626 w 5348246"/>
                <a:gd name="connsiteY6" fmla="*/ 1514136 h 5131096"/>
                <a:gd name="connsiteX7" fmla="*/ 1309646 w 5348246"/>
                <a:gd name="connsiteY7" fmla="*/ 2679996 h 5131096"/>
                <a:gd name="connsiteX8" fmla="*/ 1512846 w 5348246"/>
                <a:gd name="connsiteY8" fmla="*/ 2781596 h 5131096"/>
                <a:gd name="connsiteX9" fmla="*/ 1550946 w 5348246"/>
                <a:gd name="connsiteY9" fmla="*/ 2692696 h 5131096"/>
                <a:gd name="connsiteX10" fmla="*/ 585746 w 5348246"/>
                <a:gd name="connsiteY10" fmla="*/ 889296 h 5131096"/>
                <a:gd name="connsiteX11" fmla="*/ 1258846 w 5348246"/>
                <a:gd name="connsiteY11" fmla="*/ 673396 h 5131096"/>
                <a:gd name="connsiteX12" fmla="*/ 1995446 w 5348246"/>
                <a:gd name="connsiteY12" fmla="*/ 2146596 h 5131096"/>
                <a:gd name="connsiteX13" fmla="*/ 2178326 w 5348246"/>
                <a:gd name="connsiteY13" fmla="*/ 2029756 h 5131096"/>
                <a:gd name="connsiteX14" fmla="*/ 1538246 w 5348246"/>
                <a:gd name="connsiteY14" fmla="*/ 239056 h 5131096"/>
                <a:gd name="connsiteX15" fmla="*/ 2191026 w 5348246"/>
                <a:gd name="connsiteY15" fmla="*/ 173016 h 5131096"/>
                <a:gd name="connsiteX16" fmla="*/ 2838726 w 5348246"/>
                <a:gd name="connsiteY16" fmla="*/ 1824016 h 5131096"/>
                <a:gd name="connsiteX17" fmla="*/ 3039386 w 5348246"/>
                <a:gd name="connsiteY17" fmla="*/ 1790996 h 5131096"/>
                <a:gd name="connsiteX18" fmla="*/ 2859046 w 5348246"/>
                <a:gd name="connsiteY18" fmla="*/ 216196 h 5131096"/>
                <a:gd name="connsiteX19" fmla="*/ 3544846 w 5348246"/>
                <a:gd name="connsiteY19" fmla="*/ 89196 h 5131096"/>
                <a:gd name="connsiteX20" fmla="*/ 3798846 w 5348246"/>
                <a:gd name="connsiteY20" fmla="*/ 2286296 h 5131096"/>
                <a:gd name="connsiteX21" fmla="*/ 3925846 w 5348246"/>
                <a:gd name="connsiteY21" fmla="*/ 2476796 h 5131096"/>
                <a:gd name="connsiteX22" fmla="*/ 4306846 w 5348246"/>
                <a:gd name="connsiteY22" fmla="*/ 1689396 h 5131096"/>
                <a:gd name="connsiteX23" fmla="*/ 4725946 w 5348246"/>
                <a:gd name="connsiteY23" fmla="*/ 1206796 h 5131096"/>
                <a:gd name="connsiteX24" fmla="*/ 5170446 w 5348246"/>
                <a:gd name="connsiteY24" fmla="*/ 1244896 h 5131096"/>
                <a:gd name="connsiteX25" fmla="*/ 5348246 w 5348246"/>
                <a:gd name="connsiteY25" fmla="*/ 1409996 h 5131096"/>
                <a:gd name="connsiteX26" fmla="*/ 4916446 w 5348246"/>
                <a:gd name="connsiteY26" fmla="*/ 1892596 h 5131096"/>
                <a:gd name="connsiteX27" fmla="*/ 4268746 w 5348246"/>
                <a:gd name="connsiteY27" fmla="*/ 4191296 h 5131096"/>
                <a:gd name="connsiteX28" fmla="*/ 3887746 w 5348246"/>
                <a:gd name="connsiteY28" fmla="*/ 4737396 h 5131096"/>
                <a:gd name="connsiteX29" fmla="*/ 3265446 w 5348246"/>
                <a:gd name="connsiteY29" fmla="*/ 5042196 h 5131096"/>
                <a:gd name="connsiteX30" fmla="*/ 2909846 w 5348246"/>
                <a:gd name="connsiteY30" fmla="*/ 5131096 h 5131096"/>
                <a:gd name="connsiteX0" fmla="*/ 2909846 w 5348246"/>
                <a:gd name="connsiteY0" fmla="*/ 5229142 h 5229142"/>
                <a:gd name="connsiteX1" fmla="*/ 2909846 w 5348246"/>
                <a:gd name="connsiteY1" fmla="*/ 5229142 h 5229142"/>
                <a:gd name="connsiteX2" fmla="*/ 2257066 w 5348246"/>
                <a:gd name="connsiteY2" fmla="*/ 5114842 h 5229142"/>
                <a:gd name="connsiteX3" fmla="*/ 1665246 w 5348246"/>
                <a:gd name="connsiteY3" fmla="*/ 4606842 h 5229142"/>
                <a:gd name="connsiteX4" fmla="*/ 1124226 w 5348246"/>
                <a:gd name="connsiteY4" fmla="*/ 3585762 h 5229142"/>
                <a:gd name="connsiteX5" fmla="*/ 16786 w 5348246"/>
                <a:gd name="connsiteY5" fmla="*/ 1962702 h 5229142"/>
                <a:gd name="connsiteX6" fmla="*/ 514626 w 5348246"/>
                <a:gd name="connsiteY6" fmla="*/ 1612182 h 5229142"/>
                <a:gd name="connsiteX7" fmla="*/ 1309646 w 5348246"/>
                <a:gd name="connsiteY7" fmla="*/ 2778042 h 5229142"/>
                <a:gd name="connsiteX8" fmla="*/ 1512846 w 5348246"/>
                <a:gd name="connsiteY8" fmla="*/ 2879642 h 5229142"/>
                <a:gd name="connsiteX9" fmla="*/ 1550946 w 5348246"/>
                <a:gd name="connsiteY9" fmla="*/ 2790742 h 5229142"/>
                <a:gd name="connsiteX10" fmla="*/ 585746 w 5348246"/>
                <a:gd name="connsiteY10" fmla="*/ 987342 h 5229142"/>
                <a:gd name="connsiteX11" fmla="*/ 1258846 w 5348246"/>
                <a:gd name="connsiteY11" fmla="*/ 771442 h 5229142"/>
                <a:gd name="connsiteX12" fmla="*/ 1995446 w 5348246"/>
                <a:gd name="connsiteY12" fmla="*/ 2244642 h 5229142"/>
                <a:gd name="connsiteX13" fmla="*/ 2178326 w 5348246"/>
                <a:gd name="connsiteY13" fmla="*/ 2127802 h 5229142"/>
                <a:gd name="connsiteX14" fmla="*/ 1538246 w 5348246"/>
                <a:gd name="connsiteY14" fmla="*/ 337102 h 5229142"/>
                <a:gd name="connsiteX15" fmla="*/ 2152926 w 5348246"/>
                <a:gd name="connsiteY15" fmla="*/ 141522 h 5229142"/>
                <a:gd name="connsiteX16" fmla="*/ 2838726 w 5348246"/>
                <a:gd name="connsiteY16" fmla="*/ 1922062 h 5229142"/>
                <a:gd name="connsiteX17" fmla="*/ 3039386 w 5348246"/>
                <a:gd name="connsiteY17" fmla="*/ 1889042 h 5229142"/>
                <a:gd name="connsiteX18" fmla="*/ 2859046 w 5348246"/>
                <a:gd name="connsiteY18" fmla="*/ 314242 h 5229142"/>
                <a:gd name="connsiteX19" fmla="*/ 3544846 w 5348246"/>
                <a:gd name="connsiteY19" fmla="*/ 187242 h 5229142"/>
                <a:gd name="connsiteX20" fmla="*/ 3798846 w 5348246"/>
                <a:gd name="connsiteY20" fmla="*/ 2384342 h 5229142"/>
                <a:gd name="connsiteX21" fmla="*/ 3925846 w 5348246"/>
                <a:gd name="connsiteY21" fmla="*/ 2574842 h 5229142"/>
                <a:gd name="connsiteX22" fmla="*/ 4306846 w 5348246"/>
                <a:gd name="connsiteY22" fmla="*/ 1787442 h 5229142"/>
                <a:gd name="connsiteX23" fmla="*/ 4725946 w 5348246"/>
                <a:gd name="connsiteY23" fmla="*/ 1304842 h 5229142"/>
                <a:gd name="connsiteX24" fmla="*/ 5170446 w 5348246"/>
                <a:gd name="connsiteY24" fmla="*/ 1342942 h 5229142"/>
                <a:gd name="connsiteX25" fmla="*/ 5348246 w 5348246"/>
                <a:gd name="connsiteY25" fmla="*/ 1508042 h 5229142"/>
                <a:gd name="connsiteX26" fmla="*/ 4916446 w 5348246"/>
                <a:gd name="connsiteY26" fmla="*/ 1990642 h 5229142"/>
                <a:gd name="connsiteX27" fmla="*/ 4268746 w 5348246"/>
                <a:gd name="connsiteY27" fmla="*/ 4289342 h 5229142"/>
                <a:gd name="connsiteX28" fmla="*/ 3887746 w 5348246"/>
                <a:gd name="connsiteY28" fmla="*/ 4835442 h 5229142"/>
                <a:gd name="connsiteX29" fmla="*/ 3265446 w 5348246"/>
                <a:gd name="connsiteY29" fmla="*/ 5140242 h 5229142"/>
                <a:gd name="connsiteX30" fmla="*/ 2909846 w 5348246"/>
                <a:gd name="connsiteY30" fmla="*/ 5229142 h 5229142"/>
                <a:gd name="connsiteX0" fmla="*/ 2909846 w 5348246"/>
                <a:gd name="connsiteY0" fmla="*/ 5229142 h 5229142"/>
                <a:gd name="connsiteX1" fmla="*/ 2909846 w 5348246"/>
                <a:gd name="connsiteY1" fmla="*/ 5229142 h 5229142"/>
                <a:gd name="connsiteX2" fmla="*/ 2257066 w 5348246"/>
                <a:gd name="connsiteY2" fmla="*/ 5114842 h 5229142"/>
                <a:gd name="connsiteX3" fmla="*/ 1665246 w 5348246"/>
                <a:gd name="connsiteY3" fmla="*/ 4606842 h 5229142"/>
                <a:gd name="connsiteX4" fmla="*/ 1124226 w 5348246"/>
                <a:gd name="connsiteY4" fmla="*/ 3585762 h 5229142"/>
                <a:gd name="connsiteX5" fmla="*/ 16786 w 5348246"/>
                <a:gd name="connsiteY5" fmla="*/ 1962702 h 5229142"/>
                <a:gd name="connsiteX6" fmla="*/ 514626 w 5348246"/>
                <a:gd name="connsiteY6" fmla="*/ 1612182 h 5229142"/>
                <a:gd name="connsiteX7" fmla="*/ 1309646 w 5348246"/>
                <a:gd name="connsiteY7" fmla="*/ 2778042 h 5229142"/>
                <a:gd name="connsiteX8" fmla="*/ 1512846 w 5348246"/>
                <a:gd name="connsiteY8" fmla="*/ 2879642 h 5229142"/>
                <a:gd name="connsiteX9" fmla="*/ 1550946 w 5348246"/>
                <a:gd name="connsiteY9" fmla="*/ 2790742 h 5229142"/>
                <a:gd name="connsiteX10" fmla="*/ 585746 w 5348246"/>
                <a:gd name="connsiteY10" fmla="*/ 987342 h 5229142"/>
                <a:gd name="connsiteX11" fmla="*/ 1258846 w 5348246"/>
                <a:gd name="connsiteY11" fmla="*/ 771442 h 5229142"/>
                <a:gd name="connsiteX12" fmla="*/ 1995446 w 5348246"/>
                <a:gd name="connsiteY12" fmla="*/ 2244642 h 5229142"/>
                <a:gd name="connsiteX13" fmla="*/ 2178326 w 5348246"/>
                <a:gd name="connsiteY13" fmla="*/ 2127802 h 5229142"/>
                <a:gd name="connsiteX14" fmla="*/ 1538246 w 5348246"/>
                <a:gd name="connsiteY14" fmla="*/ 337102 h 5229142"/>
                <a:gd name="connsiteX15" fmla="*/ 2152926 w 5348246"/>
                <a:gd name="connsiteY15" fmla="*/ 141522 h 5229142"/>
                <a:gd name="connsiteX16" fmla="*/ 2838726 w 5348246"/>
                <a:gd name="connsiteY16" fmla="*/ 1922062 h 5229142"/>
                <a:gd name="connsiteX17" fmla="*/ 3039386 w 5348246"/>
                <a:gd name="connsiteY17" fmla="*/ 1889042 h 5229142"/>
                <a:gd name="connsiteX18" fmla="*/ 2859046 w 5348246"/>
                <a:gd name="connsiteY18" fmla="*/ 314242 h 5229142"/>
                <a:gd name="connsiteX19" fmla="*/ 3544846 w 5348246"/>
                <a:gd name="connsiteY19" fmla="*/ 187242 h 5229142"/>
                <a:gd name="connsiteX20" fmla="*/ 3798846 w 5348246"/>
                <a:gd name="connsiteY20" fmla="*/ 2384342 h 5229142"/>
                <a:gd name="connsiteX21" fmla="*/ 3925846 w 5348246"/>
                <a:gd name="connsiteY21" fmla="*/ 2574842 h 5229142"/>
                <a:gd name="connsiteX22" fmla="*/ 4306846 w 5348246"/>
                <a:gd name="connsiteY22" fmla="*/ 1787442 h 5229142"/>
                <a:gd name="connsiteX23" fmla="*/ 4725946 w 5348246"/>
                <a:gd name="connsiteY23" fmla="*/ 1304842 h 5229142"/>
                <a:gd name="connsiteX24" fmla="*/ 5170446 w 5348246"/>
                <a:gd name="connsiteY24" fmla="*/ 1342942 h 5229142"/>
                <a:gd name="connsiteX25" fmla="*/ 5348246 w 5348246"/>
                <a:gd name="connsiteY25" fmla="*/ 1508042 h 5229142"/>
                <a:gd name="connsiteX26" fmla="*/ 4916446 w 5348246"/>
                <a:gd name="connsiteY26" fmla="*/ 1990642 h 5229142"/>
                <a:gd name="connsiteX27" fmla="*/ 4268746 w 5348246"/>
                <a:gd name="connsiteY27" fmla="*/ 4289342 h 5229142"/>
                <a:gd name="connsiteX28" fmla="*/ 3887746 w 5348246"/>
                <a:gd name="connsiteY28" fmla="*/ 4835442 h 5229142"/>
                <a:gd name="connsiteX29" fmla="*/ 3265446 w 5348246"/>
                <a:gd name="connsiteY29" fmla="*/ 5140242 h 5229142"/>
                <a:gd name="connsiteX30" fmla="*/ 2909846 w 5348246"/>
                <a:gd name="connsiteY30" fmla="*/ 5229142 h 5229142"/>
                <a:gd name="connsiteX0" fmla="*/ 2909846 w 5348246"/>
                <a:gd name="connsiteY0" fmla="*/ 5229142 h 5229142"/>
                <a:gd name="connsiteX1" fmla="*/ 2909846 w 5348246"/>
                <a:gd name="connsiteY1" fmla="*/ 5229142 h 5229142"/>
                <a:gd name="connsiteX2" fmla="*/ 2257066 w 5348246"/>
                <a:gd name="connsiteY2" fmla="*/ 5114842 h 5229142"/>
                <a:gd name="connsiteX3" fmla="*/ 1665246 w 5348246"/>
                <a:gd name="connsiteY3" fmla="*/ 4606842 h 5229142"/>
                <a:gd name="connsiteX4" fmla="*/ 1124226 w 5348246"/>
                <a:gd name="connsiteY4" fmla="*/ 3585762 h 5229142"/>
                <a:gd name="connsiteX5" fmla="*/ 16786 w 5348246"/>
                <a:gd name="connsiteY5" fmla="*/ 1962702 h 5229142"/>
                <a:gd name="connsiteX6" fmla="*/ 514626 w 5348246"/>
                <a:gd name="connsiteY6" fmla="*/ 1612182 h 5229142"/>
                <a:gd name="connsiteX7" fmla="*/ 1309646 w 5348246"/>
                <a:gd name="connsiteY7" fmla="*/ 2778042 h 5229142"/>
                <a:gd name="connsiteX8" fmla="*/ 1512846 w 5348246"/>
                <a:gd name="connsiteY8" fmla="*/ 2879642 h 5229142"/>
                <a:gd name="connsiteX9" fmla="*/ 1550946 w 5348246"/>
                <a:gd name="connsiteY9" fmla="*/ 2790742 h 5229142"/>
                <a:gd name="connsiteX10" fmla="*/ 585746 w 5348246"/>
                <a:gd name="connsiteY10" fmla="*/ 987342 h 5229142"/>
                <a:gd name="connsiteX11" fmla="*/ 1258846 w 5348246"/>
                <a:gd name="connsiteY11" fmla="*/ 771442 h 5229142"/>
                <a:gd name="connsiteX12" fmla="*/ 1995446 w 5348246"/>
                <a:gd name="connsiteY12" fmla="*/ 2244642 h 5229142"/>
                <a:gd name="connsiteX13" fmla="*/ 2178326 w 5348246"/>
                <a:gd name="connsiteY13" fmla="*/ 2127802 h 5229142"/>
                <a:gd name="connsiteX14" fmla="*/ 1538246 w 5348246"/>
                <a:gd name="connsiteY14" fmla="*/ 337102 h 5229142"/>
                <a:gd name="connsiteX15" fmla="*/ 2152926 w 5348246"/>
                <a:gd name="connsiteY15" fmla="*/ 141522 h 5229142"/>
                <a:gd name="connsiteX16" fmla="*/ 2838726 w 5348246"/>
                <a:gd name="connsiteY16" fmla="*/ 1922062 h 5229142"/>
                <a:gd name="connsiteX17" fmla="*/ 3039386 w 5348246"/>
                <a:gd name="connsiteY17" fmla="*/ 1889042 h 5229142"/>
                <a:gd name="connsiteX18" fmla="*/ 2859046 w 5348246"/>
                <a:gd name="connsiteY18" fmla="*/ 314242 h 5229142"/>
                <a:gd name="connsiteX19" fmla="*/ 3544846 w 5348246"/>
                <a:gd name="connsiteY19" fmla="*/ 187242 h 5229142"/>
                <a:gd name="connsiteX20" fmla="*/ 3798846 w 5348246"/>
                <a:gd name="connsiteY20" fmla="*/ 2384342 h 5229142"/>
                <a:gd name="connsiteX21" fmla="*/ 3925846 w 5348246"/>
                <a:gd name="connsiteY21" fmla="*/ 2574842 h 5229142"/>
                <a:gd name="connsiteX22" fmla="*/ 4306846 w 5348246"/>
                <a:gd name="connsiteY22" fmla="*/ 1787442 h 5229142"/>
                <a:gd name="connsiteX23" fmla="*/ 4725946 w 5348246"/>
                <a:gd name="connsiteY23" fmla="*/ 1304842 h 5229142"/>
                <a:gd name="connsiteX24" fmla="*/ 5170446 w 5348246"/>
                <a:gd name="connsiteY24" fmla="*/ 1342942 h 5229142"/>
                <a:gd name="connsiteX25" fmla="*/ 5348246 w 5348246"/>
                <a:gd name="connsiteY25" fmla="*/ 1508042 h 5229142"/>
                <a:gd name="connsiteX26" fmla="*/ 4916446 w 5348246"/>
                <a:gd name="connsiteY26" fmla="*/ 1990642 h 5229142"/>
                <a:gd name="connsiteX27" fmla="*/ 4268746 w 5348246"/>
                <a:gd name="connsiteY27" fmla="*/ 4289342 h 5229142"/>
                <a:gd name="connsiteX28" fmla="*/ 3887746 w 5348246"/>
                <a:gd name="connsiteY28" fmla="*/ 4835442 h 5229142"/>
                <a:gd name="connsiteX29" fmla="*/ 3265446 w 5348246"/>
                <a:gd name="connsiteY29" fmla="*/ 5140242 h 5229142"/>
                <a:gd name="connsiteX30" fmla="*/ 2909846 w 5348246"/>
                <a:gd name="connsiteY30" fmla="*/ 5229142 h 5229142"/>
                <a:gd name="connsiteX0" fmla="*/ 2909846 w 5348246"/>
                <a:gd name="connsiteY0" fmla="*/ 5229142 h 5229142"/>
                <a:gd name="connsiteX1" fmla="*/ 2909846 w 5348246"/>
                <a:gd name="connsiteY1" fmla="*/ 5229142 h 5229142"/>
                <a:gd name="connsiteX2" fmla="*/ 2257066 w 5348246"/>
                <a:gd name="connsiteY2" fmla="*/ 5114842 h 5229142"/>
                <a:gd name="connsiteX3" fmla="*/ 1665246 w 5348246"/>
                <a:gd name="connsiteY3" fmla="*/ 4606842 h 5229142"/>
                <a:gd name="connsiteX4" fmla="*/ 1124226 w 5348246"/>
                <a:gd name="connsiteY4" fmla="*/ 3585762 h 5229142"/>
                <a:gd name="connsiteX5" fmla="*/ 16786 w 5348246"/>
                <a:gd name="connsiteY5" fmla="*/ 1962702 h 5229142"/>
                <a:gd name="connsiteX6" fmla="*/ 514626 w 5348246"/>
                <a:gd name="connsiteY6" fmla="*/ 1612182 h 5229142"/>
                <a:gd name="connsiteX7" fmla="*/ 1309646 w 5348246"/>
                <a:gd name="connsiteY7" fmla="*/ 2778042 h 5229142"/>
                <a:gd name="connsiteX8" fmla="*/ 1512846 w 5348246"/>
                <a:gd name="connsiteY8" fmla="*/ 2879642 h 5229142"/>
                <a:gd name="connsiteX9" fmla="*/ 1550946 w 5348246"/>
                <a:gd name="connsiteY9" fmla="*/ 2790742 h 5229142"/>
                <a:gd name="connsiteX10" fmla="*/ 585746 w 5348246"/>
                <a:gd name="connsiteY10" fmla="*/ 987342 h 5229142"/>
                <a:gd name="connsiteX11" fmla="*/ 1258846 w 5348246"/>
                <a:gd name="connsiteY11" fmla="*/ 771442 h 5229142"/>
                <a:gd name="connsiteX12" fmla="*/ 1995446 w 5348246"/>
                <a:gd name="connsiteY12" fmla="*/ 2244642 h 5229142"/>
                <a:gd name="connsiteX13" fmla="*/ 2178326 w 5348246"/>
                <a:gd name="connsiteY13" fmla="*/ 2127802 h 5229142"/>
                <a:gd name="connsiteX14" fmla="*/ 1538246 w 5348246"/>
                <a:gd name="connsiteY14" fmla="*/ 337102 h 5229142"/>
                <a:gd name="connsiteX15" fmla="*/ 2152926 w 5348246"/>
                <a:gd name="connsiteY15" fmla="*/ 141522 h 5229142"/>
                <a:gd name="connsiteX16" fmla="*/ 2838726 w 5348246"/>
                <a:gd name="connsiteY16" fmla="*/ 1922062 h 5229142"/>
                <a:gd name="connsiteX17" fmla="*/ 3039386 w 5348246"/>
                <a:gd name="connsiteY17" fmla="*/ 1889042 h 5229142"/>
                <a:gd name="connsiteX18" fmla="*/ 2859046 w 5348246"/>
                <a:gd name="connsiteY18" fmla="*/ 314242 h 5229142"/>
                <a:gd name="connsiteX19" fmla="*/ 3544846 w 5348246"/>
                <a:gd name="connsiteY19" fmla="*/ 187242 h 5229142"/>
                <a:gd name="connsiteX20" fmla="*/ 3798846 w 5348246"/>
                <a:gd name="connsiteY20" fmla="*/ 2384342 h 5229142"/>
                <a:gd name="connsiteX21" fmla="*/ 3925846 w 5348246"/>
                <a:gd name="connsiteY21" fmla="*/ 2574842 h 5229142"/>
                <a:gd name="connsiteX22" fmla="*/ 4306846 w 5348246"/>
                <a:gd name="connsiteY22" fmla="*/ 1787442 h 5229142"/>
                <a:gd name="connsiteX23" fmla="*/ 4725946 w 5348246"/>
                <a:gd name="connsiteY23" fmla="*/ 1304842 h 5229142"/>
                <a:gd name="connsiteX24" fmla="*/ 5170446 w 5348246"/>
                <a:gd name="connsiteY24" fmla="*/ 1342942 h 5229142"/>
                <a:gd name="connsiteX25" fmla="*/ 5348246 w 5348246"/>
                <a:gd name="connsiteY25" fmla="*/ 1508042 h 5229142"/>
                <a:gd name="connsiteX26" fmla="*/ 4916446 w 5348246"/>
                <a:gd name="connsiteY26" fmla="*/ 1990642 h 5229142"/>
                <a:gd name="connsiteX27" fmla="*/ 4268746 w 5348246"/>
                <a:gd name="connsiteY27" fmla="*/ 4289342 h 5229142"/>
                <a:gd name="connsiteX28" fmla="*/ 3887746 w 5348246"/>
                <a:gd name="connsiteY28" fmla="*/ 4835442 h 5229142"/>
                <a:gd name="connsiteX29" fmla="*/ 3265446 w 5348246"/>
                <a:gd name="connsiteY29" fmla="*/ 5140242 h 5229142"/>
                <a:gd name="connsiteX30" fmla="*/ 2909846 w 5348246"/>
                <a:gd name="connsiteY30" fmla="*/ 5229142 h 5229142"/>
                <a:gd name="connsiteX0" fmla="*/ 2909846 w 5348246"/>
                <a:gd name="connsiteY0" fmla="*/ 5237039 h 5237039"/>
                <a:gd name="connsiteX1" fmla="*/ 2909846 w 5348246"/>
                <a:gd name="connsiteY1" fmla="*/ 5237039 h 5237039"/>
                <a:gd name="connsiteX2" fmla="*/ 2257066 w 5348246"/>
                <a:gd name="connsiteY2" fmla="*/ 5122739 h 5237039"/>
                <a:gd name="connsiteX3" fmla="*/ 1665246 w 5348246"/>
                <a:gd name="connsiteY3" fmla="*/ 4614739 h 5237039"/>
                <a:gd name="connsiteX4" fmla="*/ 1124226 w 5348246"/>
                <a:gd name="connsiteY4" fmla="*/ 3593659 h 5237039"/>
                <a:gd name="connsiteX5" fmla="*/ 16786 w 5348246"/>
                <a:gd name="connsiteY5" fmla="*/ 1970599 h 5237039"/>
                <a:gd name="connsiteX6" fmla="*/ 514626 w 5348246"/>
                <a:gd name="connsiteY6" fmla="*/ 1620079 h 5237039"/>
                <a:gd name="connsiteX7" fmla="*/ 1309646 w 5348246"/>
                <a:gd name="connsiteY7" fmla="*/ 2785939 h 5237039"/>
                <a:gd name="connsiteX8" fmla="*/ 1512846 w 5348246"/>
                <a:gd name="connsiteY8" fmla="*/ 2887539 h 5237039"/>
                <a:gd name="connsiteX9" fmla="*/ 1550946 w 5348246"/>
                <a:gd name="connsiteY9" fmla="*/ 2798639 h 5237039"/>
                <a:gd name="connsiteX10" fmla="*/ 585746 w 5348246"/>
                <a:gd name="connsiteY10" fmla="*/ 995239 h 5237039"/>
                <a:gd name="connsiteX11" fmla="*/ 1258846 w 5348246"/>
                <a:gd name="connsiteY11" fmla="*/ 779339 h 5237039"/>
                <a:gd name="connsiteX12" fmla="*/ 1995446 w 5348246"/>
                <a:gd name="connsiteY12" fmla="*/ 2252539 h 5237039"/>
                <a:gd name="connsiteX13" fmla="*/ 2178326 w 5348246"/>
                <a:gd name="connsiteY13" fmla="*/ 2135699 h 5237039"/>
                <a:gd name="connsiteX14" fmla="*/ 1538246 w 5348246"/>
                <a:gd name="connsiteY14" fmla="*/ 344999 h 5237039"/>
                <a:gd name="connsiteX15" fmla="*/ 2152926 w 5348246"/>
                <a:gd name="connsiteY15" fmla="*/ 149419 h 5237039"/>
                <a:gd name="connsiteX16" fmla="*/ 2838726 w 5348246"/>
                <a:gd name="connsiteY16" fmla="*/ 1929959 h 5237039"/>
                <a:gd name="connsiteX17" fmla="*/ 3039386 w 5348246"/>
                <a:gd name="connsiteY17" fmla="*/ 1896939 h 5237039"/>
                <a:gd name="connsiteX18" fmla="*/ 2859046 w 5348246"/>
                <a:gd name="connsiteY18" fmla="*/ 322139 h 5237039"/>
                <a:gd name="connsiteX19" fmla="*/ 3544846 w 5348246"/>
                <a:gd name="connsiteY19" fmla="*/ 195139 h 5237039"/>
                <a:gd name="connsiteX20" fmla="*/ 3798846 w 5348246"/>
                <a:gd name="connsiteY20" fmla="*/ 2392239 h 5237039"/>
                <a:gd name="connsiteX21" fmla="*/ 3925846 w 5348246"/>
                <a:gd name="connsiteY21" fmla="*/ 2582739 h 5237039"/>
                <a:gd name="connsiteX22" fmla="*/ 4306846 w 5348246"/>
                <a:gd name="connsiteY22" fmla="*/ 1795339 h 5237039"/>
                <a:gd name="connsiteX23" fmla="*/ 4725946 w 5348246"/>
                <a:gd name="connsiteY23" fmla="*/ 1312739 h 5237039"/>
                <a:gd name="connsiteX24" fmla="*/ 5170446 w 5348246"/>
                <a:gd name="connsiteY24" fmla="*/ 1350839 h 5237039"/>
                <a:gd name="connsiteX25" fmla="*/ 5348246 w 5348246"/>
                <a:gd name="connsiteY25" fmla="*/ 1515939 h 5237039"/>
                <a:gd name="connsiteX26" fmla="*/ 4916446 w 5348246"/>
                <a:gd name="connsiteY26" fmla="*/ 1998539 h 5237039"/>
                <a:gd name="connsiteX27" fmla="*/ 4268746 w 5348246"/>
                <a:gd name="connsiteY27" fmla="*/ 4297239 h 5237039"/>
                <a:gd name="connsiteX28" fmla="*/ 3887746 w 5348246"/>
                <a:gd name="connsiteY28" fmla="*/ 4843339 h 5237039"/>
                <a:gd name="connsiteX29" fmla="*/ 3265446 w 5348246"/>
                <a:gd name="connsiteY29" fmla="*/ 5148139 h 5237039"/>
                <a:gd name="connsiteX30" fmla="*/ 2909846 w 5348246"/>
                <a:gd name="connsiteY30" fmla="*/ 5237039 h 5237039"/>
                <a:gd name="connsiteX0" fmla="*/ 2909846 w 5348246"/>
                <a:gd name="connsiteY0" fmla="*/ 5237039 h 5237039"/>
                <a:gd name="connsiteX1" fmla="*/ 2909846 w 5348246"/>
                <a:gd name="connsiteY1" fmla="*/ 5237039 h 5237039"/>
                <a:gd name="connsiteX2" fmla="*/ 2257066 w 5348246"/>
                <a:gd name="connsiteY2" fmla="*/ 5122739 h 5237039"/>
                <a:gd name="connsiteX3" fmla="*/ 1665246 w 5348246"/>
                <a:gd name="connsiteY3" fmla="*/ 4614739 h 5237039"/>
                <a:gd name="connsiteX4" fmla="*/ 1124226 w 5348246"/>
                <a:gd name="connsiteY4" fmla="*/ 3593659 h 5237039"/>
                <a:gd name="connsiteX5" fmla="*/ 16786 w 5348246"/>
                <a:gd name="connsiteY5" fmla="*/ 1970599 h 5237039"/>
                <a:gd name="connsiteX6" fmla="*/ 514626 w 5348246"/>
                <a:gd name="connsiteY6" fmla="*/ 1620079 h 5237039"/>
                <a:gd name="connsiteX7" fmla="*/ 1309646 w 5348246"/>
                <a:gd name="connsiteY7" fmla="*/ 2785939 h 5237039"/>
                <a:gd name="connsiteX8" fmla="*/ 1512846 w 5348246"/>
                <a:gd name="connsiteY8" fmla="*/ 2887539 h 5237039"/>
                <a:gd name="connsiteX9" fmla="*/ 1550946 w 5348246"/>
                <a:gd name="connsiteY9" fmla="*/ 2798639 h 5237039"/>
                <a:gd name="connsiteX10" fmla="*/ 585746 w 5348246"/>
                <a:gd name="connsiteY10" fmla="*/ 995239 h 5237039"/>
                <a:gd name="connsiteX11" fmla="*/ 1258846 w 5348246"/>
                <a:gd name="connsiteY11" fmla="*/ 779339 h 5237039"/>
                <a:gd name="connsiteX12" fmla="*/ 1995446 w 5348246"/>
                <a:gd name="connsiteY12" fmla="*/ 2252539 h 5237039"/>
                <a:gd name="connsiteX13" fmla="*/ 2178326 w 5348246"/>
                <a:gd name="connsiteY13" fmla="*/ 2135699 h 5237039"/>
                <a:gd name="connsiteX14" fmla="*/ 1538246 w 5348246"/>
                <a:gd name="connsiteY14" fmla="*/ 344999 h 5237039"/>
                <a:gd name="connsiteX15" fmla="*/ 2152926 w 5348246"/>
                <a:gd name="connsiteY15" fmla="*/ 149419 h 5237039"/>
                <a:gd name="connsiteX16" fmla="*/ 2838726 w 5348246"/>
                <a:gd name="connsiteY16" fmla="*/ 1929959 h 5237039"/>
                <a:gd name="connsiteX17" fmla="*/ 3039386 w 5348246"/>
                <a:gd name="connsiteY17" fmla="*/ 1896939 h 5237039"/>
                <a:gd name="connsiteX18" fmla="*/ 2859046 w 5348246"/>
                <a:gd name="connsiteY18" fmla="*/ 322139 h 5237039"/>
                <a:gd name="connsiteX19" fmla="*/ 3544846 w 5348246"/>
                <a:gd name="connsiteY19" fmla="*/ 195139 h 5237039"/>
                <a:gd name="connsiteX20" fmla="*/ 3798846 w 5348246"/>
                <a:gd name="connsiteY20" fmla="*/ 2392239 h 5237039"/>
                <a:gd name="connsiteX21" fmla="*/ 3925846 w 5348246"/>
                <a:gd name="connsiteY21" fmla="*/ 2582739 h 5237039"/>
                <a:gd name="connsiteX22" fmla="*/ 4306846 w 5348246"/>
                <a:gd name="connsiteY22" fmla="*/ 1795339 h 5237039"/>
                <a:gd name="connsiteX23" fmla="*/ 4725946 w 5348246"/>
                <a:gd name="connsiteY23" fmla="*/ 1312739 h 5237039"/>
                <a:gd name="connsiteX24" fmla="*/ 5170446 w 5348246"/>
                <a:gd name="connsiteY24" fmla="*/ 1350839 h 5237039"/>
                <a:gd name="connsiteX25" fmla="*/ 5348246 w 5348246"/>
                <a:gd name="connsiteY25" fmla="*/ 1515939 h 5237039"/>
                <a:gd name="connsiteX26" fmla="*/ 4916446 w 5348246"/>
                <a:gd name="connsiteY26" fmla="*/ 1998539 h 5237039"/>
                <a:gd name="connsiteX27" fmla="*/ 4268746 w 5348246"/>
                <a:gd name="connsiteY27" fmla="*/ 4297239 h 5237039"/>
                <a:gd name="connsiteX28" fmla="*/ 3887746 w 5348246"/>
                <a:gd name="connsiteY28" fmla="*/ 4843339 h 5237039"/>
                <a:gd name="connsiteX29" fmla="*/ 3265446 w 5348246"/>
                <a:gd name="connsiteY29" fmla="*/ 5148139 h 5237039"/>
                <a:gd name="connsiteX30" fmla="*/ 2909846 w 5348246"/>
                <a:gd name="connsiteY30" fmla="*/ 5237039 h 5237039"/>
                <a:gd name="connsiteX0" fmla="*/ 2909846 w 5348246"/>
                <a:gd name="connsiteY0" fmla="*/ 5237039 h 5237039"/>
                <a:gd name="connsiteX1" fmla="*/ 2909846 w 5348246"/>
                <a:gd name="connsiteY1" fmla="*/ 5237039 h 5237039"/>
                <a:gd name="connsiteX2" fmla="*/ 2257066 w 5348246"/>
                <a:gd name="connsiteY2" fmla="*/ 5122739 h 5237039"/>
                <a:gd name="connsiteX3" fmla="*/ 1665246 w 5348246"/>
                <a:gd name="connsiteY3" fmla="*/ 4614739 h 5237039"/>
                <a:gd name="connsiteX4" fmla="*/ 1124226 w 5348246"/>
                <a:gd name="connsiteY4" fmla="*/ 3593659 h 5237039"/>
                <a:gd name="connsiteX5" fmla="*/ 16786 w 5348246"/>
                <a:gd name="connsiteY5" fmla="*/ 1970599 h 5237039"/>
                <a:gd name="connsiteX6" fmla="*/ 514626 w 5348246"/>
                <a:gd name="connsiteY6" fmla="*/ 1620079 h 5237039"/>
                <a:gd name="connsiteX7" fmla="*/ 1309646 w 5348246"/>
                <a:gd name="connsiteY7" fmla="*/ 2785939 h 5237039"/>
                <a:gd name="connsiteX8" fmla="*/ 1512846 w 5348246"/>
                <a:gd name="connsiteY8" fmla="*/ 2887539 h 5237039"/>
                <a:gd name="connsiteX9" fmla="*/ 1550946 w 5348246"/>
                <a:gd name="connsiteY9" fmla="*/ 2798639 h 5237039"/>
                <a:gd name="connsiteX10" fmla="*/ 585746 w 5348246"/>
                <a:gd name="connsiteY10" fmla="*/ 995239 h 5237039"/>
                <a:gd name="connsiteX11" fmla="*/ 1258846 w 5348246"/>
                <a:gd name="connsiteY11" fmla="*/ 779339 h 5237039"/>
                <a:gd name="connsiteX12" fmla="*/ 1995446 w 5348246"/>
                <a:gd name="connsiteY12" fmla="*/ 2252539 h 5237039"/>
                <a:gd name="connsiteX13" fmla="*/ 2178326 w 5348246"/>
                <a:gd name="connsiteY13" fmla="*/ 2135699 h 5237039"/>
                <a:gd name="connsiteX14" fmla="*/ 1538246 w 5348246"/>
                <a:gd name="connsiteY14" fmla="*/ 344999 h 5237039"/>
                <a:gd name="connsiteX15" fmla="*/ 2152926 w 5348246"/>
                <a:gd name="connsiteY15" fmla="*/ 149419 h 5237039"/>
                <a:gd name="connsiteX16" fmla="*/ 2838726 w 5348246"/>
                <a:gd name="connsiteY16" fmla="*/ 1929959 h 5237039"/>
                <a:gd name="connsiteX17" fmla="*/ 3039386 w 5348246"/>
                <a:gd name="connsiteY17" fmla="*/ 1896939 h 5237039"/>
                <a:gd name="connsiteX18" fmla="*/ 2859046 w 5348246"/>
                <a:gd name="connsiteY18" fmla="*/ 322139 h 5237039"/>
                <a:gd name="connsiteX19" fmla="*/ 3544846 w 5348246"/>
                <a:gd name="connsiteY19" fmla="*/ 195139 h 5237039"/>
                <a:gd name="connsiteX20" fmla="*/ 3798846 w 5348246"/>
                <a:gd name="connsiteY20" fmla="*/ 2392239 h 5237039"/>
                <a:gd name="connsiteX21" fmla="*/ 3925846 w 5348246"/>
                <a:gd name="connsiteY21" fmla="*/ 2582739 h 5237039"/>
                <a:gd name="connsiteX22" fmla="*/ 4306846 w 5348246"/>
                <a:gd name="connsiteY22" fmla="*/ 1795339 h 5237039"/>
                <a:gd name="connsiteX23" fmla="*/ 4725946 w 5348246"/>
                <a:gd name="connsiteY23" fmla="*/ 1312739 h 5237039"/>
                <a:gd name="connsiteX24" fmla="*/ 5170446 w 5348246"/>
                <a:gd name="connsiteY24" fmla="*/ 1350839 h 5237039"/>
                <a:gd name="connsiteX25" fmla="*/ 5348246 w 5348246"/>
                <a:gd name="connsiteY25" fmla="*/ 1515939 h 5237039"/>
                <a:gd name="connsiteX26" fmla="*/ 4916446 w 5348246"/>
                <a:gd name="connsiteY26" fmla="*/ 1998539 h 5237039"/>
                <a:gd name="connsiteX27" fmla="*/ 4268746 w 5348246"/>
                <a:gd name="connsiteY27" fmla="*/ 4297239 h 5237039"/>
                <a:gd name="connsiteX28" fmla="*/ 3887746 w 5348246"/>
                <a:gd name="connsiteY28" fmla="*/ 4843339 h 5237039"/>
                <a:gd name="connsiteX29" fmla="*/ 3265446 w 5348246"/>
                <a:gd name="connsiteY29" fmla="*/ 5148139 h 5237039"/>
                <a:gd name="connsiteX30" fmla="*/ 2909846 w 5348246"/>
                <a:gd name="connsiteY30" fmla="*/ 5237039 h 5237039"/>
                <a:gd name="connsiteX0" fmla="*/ 2909846 w 5348246"/>
                <a:gd name="connsiteY0" fmla="*/ 5237039 h 5237039"/>
                <a:gd name="connsiteX1" fmla="*/ 2909846 w 5348246"/>
                <a:gd name="connsiteY1" fmla="*/ 5237039 h 5237039"/>
                <a:gd name="connsiteX2" fmla="*/ 2257066 w 5348246"/>
                <a:gd name="connsiteY2" fmla="*/ 5122739 h 5237039"/>
                <a:gd name="connsiteX3" fmla="*/ 1665246 w 5348246"/>
                <a:gd name="connsiteY3" fmla="*/ 4614739 h 5237039"/>
                <a:gd name="connsiteX4" fmla="*/ 1124226 w 5348246"/>
                <a:gd name="connsiteY4" fmla="*/ 3593659 h 5237039"/>
                <a:gd name="connsiteX5" fmla="*/ 16786 w 5348246"/>
                <a:gd name="connsiteY5" fmla="*/ 1970599 h 5237039"/>
                <a:gd name="connsiteX6" fmla="*/ 514626 w 5348246"/>
                <a:gd name="connsiteY6" fmla="*/ 1620079 h 5237039"/>
                <a:gd name="connsiteX7" fmla="*/ 1309646 w 5348246"/>
                <a:gd name="connsiteY7" fmla="*/ 2785939 h 5237039"/>
                <a:gd name="connsiteX8" fmla="*/ 1512846 w 5348246"/>
                <a:gd name="connsiteY8" fmla="*/ 2887539 h 5237039"/>
                <a:gd name="connsiteX9" fmla="*/ 1550946 w 5348246"/>
                <a:gd name="connsiteY9" fmla="*/ 2798639 h 5237039"/>
                <a:gd name="connsiteX10" fmla="*/ 585746 w 5348246"/>
                <a:gd name="connsiteY10" fmla="*/ 995239 h 5237039"/>
                <a:gd name="connsiteX11" fmla="*/ 1258846 w 5348246"/>
                <a:gd name="connsiteY11" fmla="*/ 779339 h 5237039"/>
                <a:gd name="connsiteX12" fmla="*/ 1995446 w 5348246"/>
                <a:gd name="connsiteY12" fmla="*/ 2252539 h 5237039"/>
                <a:gd name="connsiteX13" fmla="*/ 2178326 w 5348246"/>
                <a:gd name="connsiteY13" fmla="*/ 2135699 h 5237039"/>
                <a:gd name="connsiteX14" fmla="*/ 1538246 w 5348246"/>
                <a:gd name="connsiteY14" fmla="*/ 344999 h 5237039"/>
                <a:gd name="connsiteX15" fmla="*/ 2152926 w 5348246"/>
                <a:gd name="connsiteY15" fmla="*/ 149419 h 5237039"/>
                <a:gd name="connsiteX16" fmla="*/ 2838726 w 5348246"/>
                <a:gd name="connsiteY16" fmla="*/ 1929959 h 5237039"/>
                <a:gd name="connsiteX17" fmla="*/ 3039386 w 5348246"/>
                <a:gd name="connsiteY17" fmla="*/ 1896939 h 5237039"/>
                <a:gd name="connsiteX18" fmla="*/ 2859046 w 5348246"/>
                <a:gd name="connsiteY18" fmla="*/ 322139 h 5237039"/>
                <a:gd name="connsiteX19" fmla="*/ 3544846 w 5348246"/>
                <a:gd name="connsiteY19" fmla="*/ 195139 h 5237039"/>
                <a:gd name="connsiteX20" fmla="*/ 3798846 w 5348246"/>
                <a:gd name="connsiteY20" fmla="*/ 2392239 h 5237039"/>
                <a:gd name="connsiteX21" fmla="*/ 4017286 w 5348246"/>
                <a:gd name="connsiteY21" fmla="*/ 2437959 h 5237039"/>
                <a:gd name="connsiteX22" fmla="*/ 4306846 w 5348246"/>
                <a:gd name="connsiteY22" fmla="*/ 1795339 h 5237039"/>
                <a:gd name="connsiteX23" fmla="*/ 4725946 w 5348246"/>
                <a:gd name="connsiteY23" fmla="*/ 1312739 h 5237039"/>
                <a:gd name="connsiteX24" fmla="*/ 5170446 w 5348246"/>
                <a:gd name="connsiteY24" fmla="*/ 1350839 h 5237039"/>
                <a:gd name="connsiteX25" fmla="*/ 5348246 w 5348246"/>
                <a:gd name="connsiteY25" fmla="*/ 1515939 h 5237039"/>
                <a:gd name="connsiteX26" fmla="*/ 4916446 w 5348246"/>
                <a:gd name="connsiteY26" fmla="*/ 1998539 h 5237039"/>
                <a:gd name="connsiteX27" fmla="*/ 4268746 w 5348246"/>
                <a:gd name="connsiteY27" fmla="*/ 4297239 h 5237039"/>
                <a:gd name="connsiteX28" fmla="*/ 3887746 w 5348246"/>
                <a:gd name="connsiteY28" fmla="*/ 4843339 h 5237039"/>
                <a:gd name="connsiteX29" fmla="*/ 3265446 w 5348246"/>
                <a:gd name="connsiteY29" fmla="*/ 5148139 h 5237039"/>
                <a:gd name="connsiteX30" fmla="*/ 2909846 w 5348246"/>
                <a:gd name="connsiteY30" fmla="*/ 5237039 h 5237039"/>
                <a:gd name="connsiteX0" fmla="*/ 2909846 w 5348246"/>
                <a:gd name="connsiteY0" fmla="*/ 5237039 h 5237039"/>
                <a:gd name="connsiteX1" fmla="*/ 2909846 w 5348246"/>
                <a:gd name="connsiteY1" fmla="*/ 5237039 h 5237039"/>
                <a:gd name="connsiteX2" fmla="*/ 2257066 w 5348246"/>
                <a:gd name="connsiteY2" fmla="*/ 5122739 h 5237039"/>
                <a:gd name="connsiteX3" fmla="*/ 1665246 w 5348246"/>
                <a:gd name="connsiteY3" fmla="*/ 4614739 h 5237039"/>
                <a:gd name="connsiteX4" fmla="*/ 1124226 w 5348246"/>
                <a:gd name="connsiteY4" fmla="*/ 3593659 h 5237039"/>
                <a:gd name="connsiteX5" fmla="*/ 16786 w 5348246"/>
                <a:gd name="connsiteY5" fmla="*/ 1970599 h 5237039"/>
                <a:gd name="connsiteX6" fmla="*/ 514626 w 5348246"/>
                <a:gd name="connsiteY6" fmla="*/ 1620079 h 5237039"/>
                <a:gd name="connsiteX7" fmla="*/ 1309646 w 5348246"/>
                <a:gd name="connsiteY7" fmla="*/ 2785939 h 5237039"/>
                <a:gd name="connsiteX8" fmla="*/ 1512846 w 5348246"/>
                <a:gd name="connsiteY8" fmla="*/ 2887539 h 5237039"/>
                <a:gd name="connsiteX9" fmla="*/ 1550946 w 5348246"/>
                <a:gd name="connsiteY9" fmla="*/ 2798639 h 5237039"/>
                <a:gd name="connsiteX10" fmla="*/ 585746 w 5348246"/>
                <a:gd name="connsiteY10" fmla="*/ 995239 h 5237039"/>
                <a:gd name="connsiteX11" fmla="*/ 1258846 w 5348246"/>
                <a:gd name="connsiteY11" fmla="*/ 779339 h 5237039"/>
                <a:gd name="connsiteX12" fmla="*/ 1995446 w 5348246"/>
                <a:gd name="connsiteY12" fmla="*/ 2252539 h 5237039"/>
                <a:gd name="connsiteX13" fmla="*/ 2178326 w 5348246"/>
                <a:gd name="connsiteY13" fmla="*/ 2135699 h 5237039"/>
                <a:gd name="connsiteX14" fmla="*/ 1538246 w 5348246"/>
                <a:gd name="connsiteY14" fmla="*/ 344999 h 5237039"/>
                <a:gd name="connsiteX15" fmla="*/ 2152926 w 5348246"/>
                <a:gd name="connsiteY15" fmla="*/ 149419 h 5237039"/>
                <a:gd name="connsiteX16" fmla="*/ 2838726 w 5348246"/>
                <a:gd name="connsiteY16" fmla="*/ 1929959 h 5237039"/>
                <a:gd name="connsiteX17" fmla="*/ 3039386 w 5348246"/>
                <a:gd name="connsiteY17" fmla="*/ 1896939 h 5237039"/>
                <a:gd name="connsiteX18" fmla="*/ 2859046 w 5348246"/>
                <a:gd name="connsiteY18" fmla="*/ 322139 h 5237039"/>
                <a:gd name="connsiteX19" fmla="*/ 3544846 w 5348246"/>
                <a:gd name="connsiteY19" fmla="*/ 195139 h 5237039"/>
                <a:gd name="connsiteX20" fmla="*/ 3798846 w 5348246"/>
                <a:gd name="connsiteY20" fmla="*/ 2392239 h 5237039"/>
                <a:gd name="connsiteX21" fmla="*/ 4017286 w 5348246"/>
                <a:gd name="connsiteY21" fmla="*/ 2437959 h 5237039"/>
                <a:gd name="connsiteX22" fmla="*/ 4306846 w 5348246"/>
                <a:gd name="connsiteY22" fmla="*/ 1795339 h 5237039"/>
                <a:gd name="connsiteX23" fmla="*/ 4725946 w 5348246"/>
                <a:gd name="connsiteY23" fmla="*/ 1312739 h 5237039"/>
                <a:gd name="connsiteX24" fmla="*/ 5170446 w 5348246"/>
                <a:gd name="connsiteY24" fmla="*/ 1350839 h 5237039"/>
                <a:gd name="connsiteX25" fmla="*/ 5348246 w 5348246"/>
                <a:gd name="connsiteY25" fmla="*/ 1515939 h 5237039"/>
                <a:gd name="connsiteX26" fmla="*/ 4916446 w 5348246"/>
                <a:gd name="connsiteY26" fmla="*/ 1998539 h 5237039"/>
                <a:gd name="connsiteX27" fmla="*/ 4268746 w 5348246"/>
                <a:gd name="connsiteY27" fmla="*/ 4297239 h 5237039"/>
                <a:gd name="connsiteX28" fmla="*/ 3887746 w 5348246"/>
                <a:gd name="connsiteY28" fmla="*/ 4843339 h 5237039"/>
                <a:gd name="connsiteX29" fmla="*/ 3265446 w 5348246"/>
                <a:gd name="connsiteY29" fmla="*/ 5148139 h 5237039"/>
                <a:gd name="connsiteX30" fmla="*/ 2909846 w 5348246"/>
                <a:gd name="connsiteY30" fmla="*/ 5237039 h 5237039"/>
                <a:gd name="connsiteX0" fmla="*/ 2909846 w 5348246"/>
                <a:gd name="connsiteY0" fmla="*/ 5237039 h 5237039"/>
                <a:gd name="connsiteX1" fmla="*/ 2909846 w 5348246"/>
                <a:gd name="connsiteY1" fmla="*/ 5237039 h 5237039"/>
                <a:gd name="connsiteX2" fmla="*/ 2257066 w 5348246"/>
                <a:gd name="connsiteY2" fmla="*/ 5122739 h 5237039"/>
                <a:gd name="connsiteX3" fmla="*/ 1665246 w 5348246"/>
                <a:gd name="connsiteY3" fmla="*/ 4614739 h 5237039"/>
                <a:gd name="connsiteX4" fmla="*/ 1124226 w 5348246"/>
                <a:gd name="connsiteY4" fmla="*/ 3593659 h 5237039"/>
                <a:gd name="connsiteX5" fmla="*/ 16786 w 5348246"/>
                <a:gd name="connsiteY5" fmla="*/ 1970599 h 5237039"/>
                <a:gd name="connsiteX6" fmla="*/ 514626 w 5348246"/>
                <a:gd name="connsiteY6" fmla="*/ 1620079 h 5237039"/>
                <a:gd name="connsiteX7" fmla="*/ 1309646 w 5348246"/>
                <a:gd name="connsiteY7" fmla="*/ 2785939 h 5237039"/>
                <a:gd name="connsiteX8" fmla="*/ 1512846 w 5348246"/>
                <a:gd name="connsiteY8" fmla="*/ 2887539 h 5237039"/>
                <a:gd name="connsiteX9" fmla="*/ 1550946 w 5348246"/>
                <a:gd name="connsiteY9" fmla="*/ 2798639 h 5237039"/>
                <a:gd name="connsiteX10" fmla="*/ 585746 w 5348246"/>
                <a:gd name="connsiteY10" fmla="*/ 995239 h 5237039"/>
                <a:gd name="connsiteX11" fmla="*/ 1258846 w 5348246"/>
                <a:gd name="connsiteY11" fmla="*/ 779339 h 5237039"/>
                <a:gd name="connsiteX12" fmla="*/ 1995446 w 5348246"/>
                <a:gd name="connsiteY12" fmla="*/ 2252539 h 5237039"/>
                <a:gd name="connsiteX13" fmla="*/ 2178326 w 5348246"/>
                <a:gd name="connsiteY13" fmla="*/ 2135699 h 5237039"/>
                <a:gd name="connsiteX14" fmla="*/ 1538246 w 5348246"/>
                <a:gd name="connsiteY14" fmla="*/ 344999 h 5237039"/>
                <a:gd name="connsiteX15" fmla="*/ 2152926 w 5348246"/>
                <a:gd name="connsiteY15" fmla="*/ 149419 h 5237039"/>
                <a:gd name="connsiteX16" fmla="*/ 2838726 w 5348246"/>
                <a:gd name="connsiteY16" fmla="*/ 1929959 h 5237039"/>
                <a:gd name="connsiteX17" fmla="*/ 3039386 w 5348246"/>
                <a:gd name="connsiteY17" fmla="*/ 1896939 h 5237039"/>
                <a:gd name="connsiteX18" fmla="*/ 2859046 w 5348246"/>
                <a:gd name="connsiteY18" fmla="*/ 322139 h 5237039"/>
                <a:gd name="connsiteX19" fmla="*/ 3544846 w 5348246"/>
                <a:gd name="connsiteY19" fmla="*/ 195139 h 5237039"/>
                <a:gd name="connsiteX20" fmla="*/ 3798846 w 5348246"/>
                <a:gd name="connsiteY20" fmla="*/ 2392239 h 5237039"/>
                <a:gd name="connsiteX21" fmla="*/ 4017286 w 5348246"/>
                <a:gd name="connsiteY21" fmla="*/ 2437959 h 5237039"/>
                <a:gd name="connsiteX22" fmla="*/ 4306846 w 5348246"/>
                <a:gd name="connsiteY22" fmla="*/ 1795339 h 5237039"/>
                <a:gd name="connsiteX23" fmla="*/ 4725946 w 5348246"/>
                <a:gd name="connsiteY23" fmla="*/ 1312739 h 5237039"/>
                <a:gd name="connsiteX24" fmla="*/ 5170446 w 5348246"/>
                <a:gd name="connsiteY24" fmla="*/ 1350839 h 5237039"/>
                <a:gd name="connsiteX25" fmla="*/ 5348246 w 5348246"/>
                <a:gd name="connsiteY25" fmla="*/ 1515939 h 5237039"/>
                <a:gd name="connsiteX26" fmla="*/ 4916446 w 5348246"/>
                <a:gd name="connsiteY26" fmla="*/ 1998539 h 5237039"/>
                <a:gd name="connsiteX27" fmla="*/ 4268746 w 5348246"/>
                <a:gd name="connsiteY27" fmla="*/ 4297239 h 5237039"/>
                <a:gd name="connsiteX28" fmla="*/ 3887746 w 5348246"/>
                <a:gd name="connsiteY28" fmla="*/ 4843339 h 5237039"/>
                <a:gd name="connsiteX29" fmla="*/ 3265446 w 5348246"/>
                <a:gd name="connsiteY29" fmla="*/ 5148139 h 5237039"/>
                <a:gd name="connsiteX30" fmla="*/ 2909846 w 5348246"/>
                <a:gd name="connsiteY30" fmla="*/ 5237039 h 5237039"/>
                <a:gd name="connsiteX0" fmla="*/ 2909846 w 5348246"/>
                <a:gd name="connsiteY0" fmla="*/ 5237039 h 5237039"/>
                <a:gd name="connsiteX1" fmla="*/ 2909846 w 5348246"/>
                <a:gd name="connsiteY1" fmla="*/ 5237039 h 5237039"/>
                <a:gd name="connsiteX2" fmla="*/ 2257066 w 5348246"/>
                <a:gd name="connsiteY2" fmla="*/ 5122739 h 5237039"/>
                <a:gd name="connsiteX3" fmla="*/ 1665246 w 5348246"/>
                <a:gd name="connsiteY3" fmla="*/ 4614739 h 5237039"/>
                <a:gd name="connsiteX4" fmla="*/ 1124226 w 5348246"/>
                <a:gd name="connsiteY4" fmla="*/ 3593659 h 5237039"/>
                <a:gd name="connsiteX5" fmla="*/ 16786 w 5348246"/>
                <a:gd name="connsiteY5" fmla="*/ 1970599 h 5237039"/>
                <a:gd name="connsiteX6" fmla="*/ 514626 w 5348246"/>
                <a:gd name="connsiteY6" fmla="*/ 1620079 h 5237039"/>
                <a:gd name="connsiteX7" fmla="*/ 1309646 w 5348246"/>
                <a:gd name="connsiteY7" fmla="*/ 2785939 h 5237039"/>
                <a:gd name="connsiteX8" fmla="*/ 1512846 w 5348246"/>
                <a:gd name="connsiteY8" fmla="*/ 2887539 h 5237039"/>
                <a:gd name="connsiteX9" fmla="*/ 1550946 w 5348246"/>
                <a:gd name="connsiteY9" fmla="*/ 2798639 h 5237039"/>
                <a:gd name="connsiteX10" fmla="*/ 585746 w 5348246"/>
                <a:gd name="connsiteY10" fmla="*/ 995239 h 5237039"/>
                <a:gd name="connsiteX11" fmla="*/ 1258846 w 5348246"/>
                <a:gd name="connsiteY11" fmla="*/ 779339 h 5237039"/>
                <a:gd name="connsiteX12" fmla="*/ 1995446 w 5348246"/>
                <a:gd name="connsiteY12" fmla="*/ 2252539 h 5237039"/>
                <a:gd name="connsiteX13" fmla="*/ 2178326 w 5348246"/>
                <a:gd name="connsiteY13" fmla="*/ 2135699 h 5237039"/>
                <a:gd name="connsiteX14" fmla="*/ 1538246 w 5348246"/>
                <a:gd name="connsiteY14" fmla="*/ 344999 h 5237039"/>
                <a:gd name="connsiteX15" fmla="*/ 2152926 w 5348246"/>
                <a:gd name="connsiteY15" fmla="*/ 149419 h 5237039"/>
                <a:gd name="connsiteX16" fmla="*/ 2838726 w 5348246"/>
                <a:gd name="connsiteY16" fmla="*/ 1929959 h 5237039"/>
                <a:gd name="connsiteX17" fmla="*/ 3039386 w 5348246"/>
                <a:gd name="connsiteY17" fmla="*/ 1896939 h 5237039"/>
                <a:gd name="connsiteX18" fmla="*/ 2859046 w 5348246"/>
                <a:gd name="connsiteY18" fmla="*/ 322139 h 5237039"/>
                <a:gd name="connsiteX19" fmla="*/ 3544846 w 5348246"/>
                <a:gd name="connsiteY19" fmla="*/ 195139 h 5237039"/>
                <a:gd name="connsiteX20" fmla="*/ 3798846 w 5348246"/>
                <a:gd name="connsiteY20" fmla="*/ 2392239 h 5237039"/>
                <a:gd name="connsiteX21" fmla="*/ 4017286 w 5348246"/>
                <a:gd name="connsiteY21" fmla="*/ 2437959 h 5237039"/>
                <a:gd name="connsiteX22" fmla="*/ 4306846 w 5348246"/>
                <a:gd name="connsiteY22" fmla="*/ 1795339 h 5237039"/>
                <a:gd name="connsiteX23" fmla="*/ 4725946 w 5348246"/>
                <a:gd name="connsiteY23" fmla="*/ 1312739 h 5237039"/>
                <a:gd name="connsiteX24" fmla="*/ 5170446 w 5348246"/>
                <a:gd name="connsiteY24" fmla="*/ 1350839 h 5237039"/>
                <a:gd name="connsiteX25" fmla="*/ 5348246 w 5348246"/>
                <a:gd name="connsiteY25" fmla="*/ 1515939 h 5237039"/>
                <a:gd name="connsiteX26" fmla="*/ 4916446 w 5348246"/>
                <a:gd name="connsiteY26" fmla="*/ 1998539 h 5237039"/>
                <a:gd name="connsiteX27" fmla="*/ 4268746 w 5348246"/>
                <a:gd name="connsiteY27" fmla="*/ 4297239 h 5237039"/>
                <a:gd name="connsiteX28" fmla="*/ 3887746 w 5348246"/>
                <a:gd name="connsiteY28" fmla="*/ 4843339 h 5237039"/>
                <a:gd name="connsiteX29" fmla="*/ 3265446 w 5348246"/>
                <a:gd name="connsiteY29" fmla="*/ 5148139 h 5237039"/>
                <a:gd name="connsiteX30" fmla="*/ 2909846 w 5348246"/>
                <a:gd name="connsiteY30" fmla="*/ 5237039 h 5237039"/>
                <a:gd name="connsiteX0" fmla="*/ 2909846 w 5348246"/>
                <a:gd name="connsiteY0" fmla="*/ 5237039 h 5237039"/>
                <a:gd name="connsiteX1" fmla="*/ 2909846 w 5348246"/>
                <a:gd name="connsiteY1" fmla="*/ 5237039 h 5237039"/>
                <a:gd name="connsiteX2" fmla="*/ 2257066 w 5348246"/>
                <a:gd name="connsiteY2" fmla="*/ 5122739 h 5237039"/>
                <a:gd name="connsiteX3" fmla="*/ 1665246 w 5348246"/>
                <a:gd name="connsiteY3" fmla="*/ 4614739 h 5237039"/>
                <a:gd name="connsiteX4" fmla="*/ 1124226 w 5348246"/>
                <a:gd name="connsiteY4" fmla="*/ 3593659 h 5237039"/>
                <a:gd name="connsiteX5" fmla="*/ 16786 w 5348246"/>
                <a:gd name="connsiteY5" fmla="*/ 1970599 h 5237039"/>
                <a:gd name="connsiteX6" fmla="*/ 514626 w 5348246"/>
                <a:gd name="connsiteY6" fmla="*/ 1620079 h 5237039"/>
                <a:gd name="connsiteX7" fmla="*/ 1309646 w 5348246"/>
                <a:gd name="connsiteY7" fmla="*/ 2785939 h 5237039"/>
                <a:gd name="connsiteX8" fmla="*/ 1512846 w 5348246"/>
                <a:gd name="connsiteY8" fmla="*/ 2887539 h 5237039"/>
                <a:gd name="connsiteX9" fmla="*/ 1550946 w 5348246"/>
                <a:gd name="connsiteY9" fmla="*/ 2798639 h 5237039"/>
                <a:gd name="connsiteX10" fmla="*/ 585746 w 5348246"/>
                <a:gd name="connsiteY10" fmla="*/ 995239 h 5237039"/>
                <a:gd name="connsiteX11" fmla="*/ 1258846 w 5348246"/>
                <a:gd name="connsiteY11" fmla="*/ 779339 h 5237039"/>
                <a:gd name="connsiteX12" fmla="*/ 1995446 w 5348246"/>
                <a:gd name="connsiteY12" fmla="*/ 2252539 h 5237039"/>
                <a:gd name="connsiteX13" fmla="*/ 2178326 w 5348246"/>
                <a:gd name="connsiteY13" fmla="*/ 2135699 h 5237039"/>
                <a:gd name="connsiteX14" fmla="*/ 1538246 w 5348246"/>
                <a:gd name="connsiteY14" fmla="*/ 344999 h 5237039"/>
                <a:gd name="connsiteX15" fmla="*/ 2152926 w 5348246"/>
                <a:gd name="connsiteY15" fmla="*/ 149419 h 5237039"/>
                <a:gd name="connsiteX16" fmla="*/ 2838726 w 5348246"/>
                <a:gd name="connsiteY16" fmla="*/ 1929959 h 5237039"/>
                <a:gd name="connsiteX17" fmla="*/ 3039386 w 5348246"/>
                <a:gd name="connsiteY17" fmla="*/ 1896939 h 5237039"/>
                <a:gd name="connsiteX18" fmla="*/ 2859046 w 5348246"/>
                <a:gd name="connsiteY18" fmla="*/ 322139 h 5237039"/>
                <a:gd name="connsiteX19" fmla="*/ 3544846 w 5348246"/>
                <a:gd name="connsiteY19" fmla="*/ 195139 h 5237039"/>
                <a:gd name="connsiteX20" fmla="*/ 3798846 w 5348246"/>
                <a:gd name="connsiteY20" fmla="*/ 2392239 h 5237039"/>
                <a:gd name="connsiteX21" fmla="*/ 4017286 w 5348246"/>
                <a:gd name="connsiteY21" fmla="*/ 2437959 h 5237039"/>
                <a:gd name="connsiteX22" fmla="*/ 4306846 w 5348246"/>
                <a:gd name="connsiteY22" fmla="*/ 1795339 h 5237039"/>
                <a:gd name="connsiteX23" fmla="*/ 4725946 w 5348246"/>
                <a:gd name="connsiteY23" fmla="*/ 1312739 h 5237039"/>
                <a:gd name="connsiteX24" fmla="*/ 5170446 w 5348246"/>
                <a:gd name="connsiteY24" fmla="*/ 1350839 h 5237039"/>
                <a:gd name="connsiteX25" fmla="*/ 5348246 w 5348246"/>
                <a:gd name="connsiteY25" fmla="*/ 1515939 h 5237039"/>
                <a:gd name="connsiteX26" fmla="*/ 4916446 w 5348246"/>
                <a:gd name="connsiteY26" fmla="*/ 1998539 h 5237039"/>
                <a:gd name="connsiteX27" fmla="*/ 4268746 w 5348246"/>
                <a:gd name="connsiteY27" fmla="*/ 4297239 h 5237039"/>
                <a:gd name="connsiteX28" fmla="*/ 3887746 w 5348246"/>
                <a:gd name="connsiteY28" fmla="*/ 4843339 h 5237039"/>
                <a:gd name="connsiteX29" fmla="*/ 3265446 w 5348246"/>
                <a:gd name="connsiteY29" fmla="*/ 5148139 h 5237039"/>
                <a:gd name="connsiteX30" fmla="*/ 2909846 w 5348246"/>
                <a:gd name="connsiteY30" fmla="*/ 5237039 h 5237039"/>
                <a:gd name="connsiteX0" fmla="*/ 2909846 w 5348246"/>
                <a:gd name="connsiteY0" fmla="*/ 5237039 h 5237039"/>
                <a:gd name="connsiteX1" fmla="*/ 2909846 w 5348246"/>
                <a:gd name="connsiteY1" fmla="*/ 5237039 h 5237039"/>
                <a:gd name="connsiteX2" fmla="*/ 2257066 w 5348246"/>
                <a:gd name="connsiteY2" fmla="*/ 5122739 h 5237039"/>
                <a:gd name="connsiteX3" fmla="*/ 1665246 w 5348246"/>
                <a:gd name="connsiteY3" fmla="*/ 4614739 h 5237039"/>
                <a:gd name="connsiteX4" fmla="*/ 1124226 w 5348246"/>
                <a:gd name="connsiteY4" fmla="*/ 3593659 h 5237039"/>
                <a:gd name="connsiteX5" fmla="*/ 16786 w 5348246"/>
                <a:gd name="connsiteY5" fmla="*/ 1970599 h 5237039"/>
                <a:gd name="connsiteX6" fmla="*/ 514626 w 5348246"/>
                <a:gd name="connsiteY6" fmla="*/ 1620079 h 5237039"/>
                <a:gd name="connsiteX7" fmla="*/ 1309646 w 5348246"/>
                <a:gd name="connsiteY7" fmla="*/ 2785939 h 5237039"/>
                <a:gd name="connsiteX8" fmla="*/ 1512846 w 5348246"/>
                <a:gd name="connsiteY8" fmla="*/ 2887539 h 5237039"/>
                <a:gd name="connsiteX9" fmla="*/ 1550946 w 5348246"/>
                <a:gd name="connsiteY9" fmla="*/ 2798639 h 5237039"/>
                <a:gd name="connsiteX10" fmla="*/ 585746 w 5348246"/>
                <a:gd name="connsiteY10" fmla="*/ 995239 h 5237039"/>
                <a:gd name="connsiteX11" fmla="*/ 1258846 w 5348246"/>
                <a:gd name="connsiteY11" fmla="*/ 779339 h 5237039"/>
                <a:gd name="connsiteX12" fmla="*/ 1995446 w 5348246"/>
                <a:gd name="connsiteY12" fmla="*/ 2252539 h 5237039"/>
                <a:gd name="connsiteX13" fmla="*/ 2178326 w 5348246"/>
                <a:gd name="connsiteY13" fmla="*/ 2135699 h 5237039"/>
                <a:gd name="connsiteX14" fmla="*/ 1538246 w 5348246"/>
                <a:gd name="connsiteY14" fmla="*/ 344999 h 5237039"/>
                <a:gd name="connsiteX15" fmla="*/ 2152926 w 5348246"/>
                <a:gd name="connsiteY15" fmla="*/ 149419 h 5237039"/>
                <a:gd name="connsiteX16" fmla="*/ 2838726 w 5348246"/>
                <a:gd name="connsiteY16" fmla="*/ 1929959 h 5237039"/>
                <a:gd name="connsiteX17" fmla="*/ 3039386 w 5348246"/>
                <a:gd name="connsiteY17" fmla="*/ 1896939 h 5237039"/>
                <a:gd name="connsiteX18" fmla="*/ 2859046 w 5348246"/>
                <a:gd name="connsiteY18" fmla="*/ 322139 h 5237039"/>
                <a:gd name="connsiteX19" fmla="*/ 3544846 w 5348246"/>
                <a:gd name="connsiteY19" fmla="*/ 195139 h 5237039"/>
                <a:gd name="connsiteX20" fmla="*/ 3798846 w 5348246"/>
                <a:gd name="connsiteY20" fmla="*/ 2392239 h 5237039"/>
                <a:gd name="connsiteX21" fmla="*/ 4017286 w 5348246"/>
                <a:gd name="connsiteY21" fmla="*/ 2437959 h 5237039"/>
                <a:gd name="connsiteX22" fmla="*/ 4306846 w 5348246"/>
                <a:gd name="connsiteY22" fmla="*/ 1795339 h 5237039"/>
                <a:gd name="connsiteX23" fmla="*/ 4725946 w 5348246"/>
                <a:gd name="connsiteY23" fmla="*/ 1312739 h 5237039"/>
                <a:gd name="connsiteX24" fmla="*/ 5170446 w 5348246"/>
                <a:gd name="connsiteY24" fmla="*/ 1350839 h 5237039"/>
                <a:gd name="connsiteX25" fmla="*/ 5348246 w 5348246"/>
                <a:gd name="connsiteY25" fmla="*/ 1515939 h 5237039"/>
                <a:gd name="connsiteX26" fmla="*/ 4916446 w 5348246"/>
                <a:gd name="connsiteY26" fmla="*/ 1998539 h 5237039"/>
                <a:gd name="connsiteX27" fmla="*/ 4268746 w 5348246"/>
                <a:gd name="connsiteY27" fmla="*/ 4297239 h 5237039"/>
                <a:gd name="connsiteX28" fmla="*/ 3887746 w 5348246"/>
                <a:gd name="connsiteY28" fmla="*/ 4843339 h 5237039"/>
                <a:gd name="connsiteX29" fmla="*/ 3265446 w 5348246"/>
                <a:gd name="connsiteY29" fmla="*/ 5148139 h 5237039"/>
                <a:gd name="connsiteX30" fmla="*/ 2909846 w 5348246"/>
                <a:gd name="connsiteY30" fmla="*/ 5237039 h 5237039"/>
                <a:gd name="connsiteX0" fmla="*/ 2909846 w 5355638"/>
                <a:gd name="connsiteY0" fmla="*/ 5237039 h 5237039"/>
                <a:gd name="connsiteX1" fmla="*/ 2909846 w 5355638"/>
                <a:gd name="connsiteY1" fmla="*/ 5237039 h 5237039"/>
                <a:gd name="connsiteX2" fmla="*/ 2257066 w 5355638"/>
                <a:gd name="connsiteY2" fmla="*/ 5122739 h 5237039"/>
                <a:gd name="connsiteX3" fmla="*/ 1665246 w 5355638"/>
                <a:gd name="connsiteY3" fmla="*/ 4614739 h 5237039"/>
                <a:gd name="connsiteX4" fmla="*/ 1124226 w 5355638"/>
                <a:gd name="connsiteY4" fmla="*/ 3593659 h 5237039"/>
                <a:gd name="connsiteX5" fmla="*/ 16786 w 5355638"/>
                <a:gd name="connsiteY5" fmla="*/ 1970599 h 5237039"/>
                <a:gd name="connsiteX6" fmla="*/ 514626 w 5355638"/>
                <a:gd name="connsiteY6" fmla="*/ 1620079 h 5237039"/>
                <a:gd name="connsiteX7" fmla="*/ 1309646 w 5355638"/>
                <a:gd name="connsiteY7" fmla="*/ 2785939 h 5237039"/>
                <a:gd name="connsiteX8" fmla="*/ 1512846 w 5355638"/>
                <a:gd name="connsiteY8" fmla="*/ 2887539 h 5237039"/>
                <a:gd name="connsiteX9" fmla="*/ 1550946 w 5355638"/>
                <a:gd name="connsiteY9" fmla="*/ 2798639 h 5237039"/>
                <a:gd name="connsiteX10" fmla="*/ 585746 w 5355638"/>
                <a:gd name="connsiteY10" fmla="*/ 995239 h 5237039"/>
                <a:gd name="connsiteX11" fmla="*/ 1258846 w 5355638"/>
                <a:gd name="connsiteY11" fmla="*/ 779339 h 5237039"/>
                <a:gd name="connsiteX12" fmla="*/ 1995446 w 5355638"/>
                <a:gd name="connsiteY12" fmla="*/ 2252539 h 5237039"/>
                <a:gd name="connsiteX13" fmla="*/ 2178326 w 5355638"/>
                <a:gd name="connsiteY13" fmla="*/ 2135699 h 5237039"/>
                <a:gd name="connsiteX14" fmla="*/ 1538246 w 5355638"/>
                <a:gd name="connsiteY14" fmla="*/ 344999 h 5237039"/>
                <a:gd name="connsiteX15" fmla="*/ 2152926 w 5355638"/>
                <a:gd name="connsiteY15" fmla="*/ 149419 h 5237039"/>
                <a:gd name="connsiteX16" fmla="*/ 2838726 w 5355638"/>
                <a:gd name="connsiteY16" fmla="*/ 1929959 h 5237039"/>
                <a:gd name="connsiteX17" fmla="*/ 3039386 w 5355638"/>
                <a:gd name="connsiteY17" fmla="*/ 1896939 h 5237039"/>
                <a:gd name="connsiteX18" fmla="*/ 2859046 w 5355638"/>
                <a:gd name="connsiteY18" fmla="*/ 322139 h 5237039"/>
                <a:gd name="connsiteX19" fmla="*/ 3544846 w 5355638"/>
                <a:gd name="connsiteY19" fmla="*/ 195139 h 5237039"/>
                <a:gd name="connsiteX20" fmla="*/ 3798846 w 5355638"/>
                <a:gd name="connsiteY20" fmla="*/ 2392239 h 5237039"/>
                <a:gd name="connsiteX21" fmla="*/ 4017286 w 5355638"/>
                <a:gd name="connsiteY21" fmla="*/ 2437959 h 5237039"/>
                <a:gd name="connsiteX22" fmla="*/ 4306846 w 5355638"/>
                <a:gd name="connsiteY22" fmla="*/ 1795339 h 5237039"/>
                <a:gd name="connsiteX23" fmla="*/ 4725946 w 5355638"/>
                <a:gd name="connsiteY23" fmla="*/ 1312739 h 5237039"/>
                <a:gd name="connsiteX24" fmla="*/ 5170446 w 5355638"/>
                <a:gd name="connsiteY24" fmla="*/ 1350839 h 5237039"/>
                <a:gd name="connsiteX25" fmla="*/ 5348246 w 5355638"/>
                <a:gd name="connsiteY25" fmla="*/ 1515939 h 5237039"/>
                <a:gd name="connsiteX26" fmla="*/ 4916446 w 5355638"/>
                <a:gd name="connsiteY26" fmla="*/ 1998539 h 5237039"/>
                <a:gd name="connsiteX27" fmla="*/ 4268746 w 5355638"/>
                <a:gd name="connsiteY27" fmla="*/ 4297239 h 5237039"/>
                <a:gd name="connsiteX28" fmla="*/ 3887746 w 5355638"/>
                <a:gd name="connsiteY28" fmla="*/ 4843339 h 5237039"/>
                <a:gd name="connsiteX29" fmla="*/ 3265446 w 5355638"/>
                <a:gd name="connsiteY29" fmla="*/ 5148139 h 5237039"/>
                <a:gd name="connsiteX30" fmla="*/ 2909846 w 5355638"/>
                <a:gd name="connsiteY30" fmla="*/ 5237039 h 5237039"/>
                <a:gd name="connsiteX0" fmla="*/ 2909846 w 5348246"/>
                <a:gd name="connsiteY0" fmla="*/ 5237039 h 5237039"/>
                <a:gd name="connsiteX1" fmla="*/ 2909846 w 5348246"/>
                <a:gd name="connsiteY1" fmla="*/ 5237039 h 5237039"/>
                <a:gd name="connsiteX2" fmla="*/ 2257066 w 5348246"/>
                <a:gd name="connsiteY2" fmla="*/ 5122739 h 5237039"/>
                <a:gd name="connsiteX3" fmla="*/ 1665246 w 5348246"/>
                <a:gd name="connsiteY3" fmla="*/ 4614739 h 5237039"/>
                <a:gd name="connsiteX4" fmla="*/ 1124226 w 5348246"/>
                <a:gd name="connsiteY4" fmla="*/ 3593659 h 5237039"/>
                <a:gd name="connsiteX5" fmla="*/ 16786 w 5348246"/>
                <a:gd name="connsiteY5" fmla="*/ 1970599 h 5237039"/>
                <a:gd name="connsiteX6" fmla="*/ 514626 w 5348246"/>
                <a:gd name="connsiteY6" fmla="*/ 1620079 h 5237039"/>
                <a:gd name="connsiteX7" fmla="*/ 1309646 w 5348246"/>
                <a:gd name="connsiteY7" fmla="*/ 2785939 h 5237039"/>
                <a:gd name="connsiteX8" fmla="*/ 1512846 w 5348246"/>
                <a:gd name="connsiteY8" fmla="*/ 2887539 h 5237039"/>
                <a:gd name="connsiteX9" fmla="*/ 1550946 w 5348246"/>
                <a:gd name="connsiteY9" fmla="*/ 2798639 h 5237039"/>
                <a:gd name="connsiteX10" fmla="*/ 585746 w 5348246"/>
                <a:gd name="connsiteY10" fmla="*/ 995239 h 5237039"/>
                <a:gd name="connsiteX11" fmla="*/ 1258846 w 5348246"/>
                <a:gd name="connsiteY11" fmla="*/ 779339 h 5237039"/>
                <a:gd name="connsiteX12" fmla="*/ 1995446 w 5348246"/>
                <a:gd name="connsiteY12" fmla="*/ 2252539 h 5237039"/>
                <a:gd name="connsiteX13" fmla="*/ 2178326 w 5348246"/>
                <a:gd name="connsiteY13" fmla="*/ 2135699 h 5237039"/>
                <a:gd name="connsiteX14" fmla="*/ 1538246 w 5348246"/>
                <a:gd name="connsiteY14" fmla="*/ 344999 h 5237039"/>
                <a:gd name="connsiteX15" fmla="*/ 2152926 w 5348246"/>
                <a:gd name="connsiteY15" fmla="*/ 149419 h 5237039"/>
                <a:gd name="connsiteX16" fmla="*/ 2838726 w 5348246"/>
                <a:gd name="connsiteY16" fmla="*/ 1929959 h 5237039"/>
                <a:gd name="connsiteX17" fmla="*/ 3039386 w 5348246"/>
                <a:gd name="connsiteY17" fmla="*/ 1896939 h 5237039"/>
                <a:gd name="connsiteX18" fmla="*/ 2859046 w 5348246"/>
                <a:gd name="connsiteY18" fmla="*/ 322139 h 5237039"/>
                <a:gd name="connsiteX19" fmla="*/ 3544846 w 5348246"/>
                <a:gd name="connsiteY19" fmla="*/ 195139 h 5237039"/>
                <a:gd name="connsiteX20" fmla="*/ 3798846 w 5348246"/>
                <a:gd name="connsiteY20" fmla="*/ 2392239 h 5237039"/>
                <a:gd name="connsiteX21" fmla="*/ 4017286 w 5348246"/>
                <a:gd name="connsiteY21" fmla="*/ 2437959 h 5237039"/>
                <a:gd name="connsiteX22" fmla="*/ 4306846 w 5348246"/>
                <a:gd name="connsiteY22" fmla="*/ 1795339 h 5237039"/>
                <a:gd name="connsiteX23" fmla="*/ 4725946 w 5348246"/>
                <a:gd name="connsiteY23" fmla="*/ 1312739 h 5237039"/>
                <a:gd name="connsiteX24" fmla="*/ 5170446 w 5348246"/>
                <a:gd name="connsiteY24" fmla="*/ 1350839 h 5237039"/>
                <a:gd name="connsiteX25" fmla="*/ 5348246 w 5348246"/>
                <a:gd name="connsiteY25" fmla="*/ 1515939 h 5237039"/>
                <a:gd name="connsiteX26" fmla="*/ 4916446 w 5348246"/>
                <a:gd name="connsiteY26" fmla="*/ 1998539 h 5237039"/>
                <a:gd name="connsiteX27" fmla="*/ 4268746 w 5348246"/>
                <a:gd name="connsiteY27" fmla="*/ 4297239 h 5237039"/>
                <a:gd name="connsiteX28" fmla="*/ 3887746 w 5348246"/>
                <a:gd name="connsiteY28" fmla="*/ 4843339 h 5237039"/>
                <a:gd name="connsiteX29" fmla="*/ 3265446 w 5348246"/>
                <a:gd name="connsiteY29" fmla="*/ 5148139 h 5237039"/>
                <a:gd name="connsiteX30" fmla="*/ 2909846 w 5348246"/>
                <a:gd name="connsiteY30" fmla="*/ 5237039 h 5237039"/>
                <a:gd name="connsiteX0" fmla="*/ 2909846 w 5380977"/>
                <a:gd name="connsiteY0" fmla="*/ 5237039 h 5237039"/>
                <a:gd name="connsiteX1" fmla="*/ 2909846 w 5380977"/>
                <a:gd name="connsiteY1" fmla="*/ 5237039 h 5237039"/>
                <a:gd name="connsiteX2" fmla="*/ 2257066 w 5380977"/>
                <a:gd name="connsiteY2" fmla="*/ 5122739 h 5237039"/>
                <a:gd name="connsiteX3" fmla="*/ 1665246 w 5380977"/>
                <a:gd name="connsiteY3" fmla="*/ 4614739 h 5237039"/>
                <a:gd name="connsiteX4" fmla="*/ 1124226 w 5380977"/>
                <a:gd name="connsiteY4" fmla="*/ 3593659 h 5237039"/>
                <a:gd name="connsiteX5" fmla="*/ 16786 w 5380977"/>
                <a:gd name="connsiteY5" fmla="*/ 1970599 h 5237039"/>
                <a:gd name="connsiteX6" fmla="*/ 514626 w 5380977"/>
                <a:gd name="connsiteY6" fmla="*/ 1620079 h 5237039"/>
                <a:gd name="connsiteX7" fmla="*/ 1309646 w 5380977"/>
                <a:gd name="connsiteY7" fmla="*/ 2785939 h 5237039"/>
                <a:gd name="connsiteX8" fmla="*/ 1512846 w 5380977"/>
                <a:gd name="connsiteY8" fmla="*/ 2887539 h 5237039"/>
                <a:gd name="connsiteX9" fmla="*/ 1550946 w 5380977"/>
                <a:gd name="connsiteY9" fmla="*/ 2798639 h 5237039"/>
                <a:gd name="connsiteX10" fmla="*/ 585746 w 5380977"/>
                <a:gd name="connsiteY10" fmla="*/ 995239 h 5237039"/>
                <a:gd name="connsiteX11" fmla="*/ 1258846 w 5380977"/>
                <a:gd name="connsiteY11" fmla="*/ 779339 h 5237039"/>
                <a:gd name="connsiteX12" fmla="*/ 1995446 w 5380977"/>
                <a:gd name="connsiteY12" fmla="*/ 2252539 h 5237039"/>
                <a:gd name="connsiteX13" fmla="*/ 2178326 w 5380977"/>
                <a:gd name="connsiteY13" fmla="*/ 2135699 h 5237039"/>
                <a:gd name="connsiteX14" fmla="*/ 1538246 w 5380977"/>
                <a:gd name="connsiteY14" fmla="*/ 344999 h 5237039"/>
                <a:gd name="connsiteX15" fmla="*/ 2152926 w 5380977"/>
                <a:gd name="connsiteY15" fmla="*/ 149419 h 5237039"/>
                <a:gd name="connsiteX16" fmla="*/ 2838726 w 5380977"/>
                <a:gd name="connsiteY16" fmla="*/ 1929959 h 5237039"/>
                <a:gd name="connsiteX17" fmla="*/ 3039386 w 5380977"/>
                <a:gd name="connsiteY17" fmla="*/ 1896939 h 5237039"/>
                <a:gd name="connsiteX18" fmla="*/ 2859046 w 5380977"/>
                <a:gd name="connsiteY18" fmla="*/ 322139 h 5237039"/>
                <a:gd name="connsiteX19" fmla="*/ 3544846 w 5380977"/>
                <a:gd name="connsiteY19" fmla="*/ 195139 h 5237039"/>
                <a:gd name="connsiteX20" fmla="*/ 3798846 w 5380977"/>
                <a:gd name="connsiteY20" fmla="*/ 2392239 h 5237039"/>
                <a:gd name="connsiteX21" fmla="*/ 4017286 w 5380977"/>
                <a:gd name="connsiteY21" fmla="*/ 2437959 h 5237039"/>
                <a:gd name="connsiteX22" fmla="*/ 4306846 w 5380977"/>
                <a:gd name="connsiteY22" fmla="*/ 1795339 h 5237039"/>
                <a:gd name="connsiteX23" fmla="*/ 4725946 w 5380977"/>
                <a:gd name="connsiteY23" fmla="*/ 1312739 h 5237039"/>
                <a:gd name="connsiteX24" fmla="*/ 5170446 w 5380977"/>
                <a:gd name="connsiteY24" fmla="*/ 1350839 h 5237039"/>
                <a:gd name="connsiteX25" fmla="*/ 5348246 w 5380977"/>
                <a:gd name="connsiteY25" fmla="*/ 1515939 h 5237039"/>
                <a:gd name="connsiteX26" fmla="*/ 4916446 w 5380977"/>
                <a:gd name="connsiteY26" fmla="*/ 1998539 h 5237039"/>
                <a:gd name="connsiteX27" fmla="*/ 4268746 w 5380977"/>
                <a:gd name="connsiteY27" fmla="*/ 4297239 h 5237039"/>
                <a:gd name="connsiteX28" fmla="*/ 3887746 w 5380977"/>
                <a:gd name="connsiteY28" fmla="*/ 4843339 h 5237039"/>
                <a:gd name="connsiteX29" fmla="*/ 3265446 w 5380977"/>
                <a:gd name="connsiteY29" fmla="*/ 5148139 h 5237039"/>
                <a:gd name="connsiteX30" fmla="*/ 2909846 w 5380977"/>
                <a:gd name="connsiteY30" fmla="*/ 5237039 h 5237039"/>
                <a:gd name="connsiteX0" fmla="*/ 2909846 w 5380977"/>
                <a:gd name="connsiteY0" fmla="*/ 5237039 h 5237039"/>
                <a:gd name="connsiteX1" fmla="*/ 2909846 w 5380977"/>
                <a:gd name="connsiteY1" fmla="*/ 5237039 h 5237039"/>
                <a:gd name="connsiteX2" fmla="*/ 2257066 w 5380977"/>
                <a:gd name="connsiteY2" fmla="*/ 5122739 h 5237039"/>
                <a:gd name="connsiteX3" fmla="*/ 1665246 w 5380977"/>
                <a:gd name="connsiteY3" fmla="*/ 4614739 h 5237039"/>
                <a:gd name="connsiteX4" fmla="*/ 1124226 w 5380977"/>
                <a:gd name="connsiteY4" fmla="*/ 3593659 h 5237039"/>
                <a:gd name="connsiteX5" fmla="*/ 16786 w 5380977"/>
                <a:gd name="connsiteY5" fmla="*/ 1970599 h 5237039"/>
                <a:gd name="connsiteX6" fmla="*/ 514626 w 5380977"/>
                <a:gd name="connsiteY6" fmla="*/ 1620079 h 5237039"/>
                <a:gd name="connsiteX7" fmla="*/ 1309646 w 5380977"/>
                <a:gd name="connsiteY7" fmla="*/ 2785939 h 5237039"/>
                <a:gd name="connsiteX8" fmla="*/ 1512846 w 5380977"/>
                <a:gd name="connsiteY8" fmla="*/ 2887539 h 5237039"/>
                <a:gd name="connsiteX9" fmla="*/ 1550946 w 5380977"/>
                <a:gd name="connsiteY9" fmla="*/ 2798639 h 5237039"/>
                <a:gd name="connsiteX10" fmla="*/ 585746 w 5380977"/>
                <a:gd name="connsiteY10" fmla="*/ 995239 h 5237039"/>
                <a:gd name="connsiteX11" fmla="*/ 1258846 w 5380977"/>
                <a:gd name="connsiteY11" fmla="*/ 779339 h 5237039"/>
                <a:gd name="connsiteX12" fmla="*/ 1995446 w 5380977"/>
                <a:gd name="connsiteY12" fmla="*/ 2252539 h 5237039"/>
                <a:gd name="connsiteX13" fmla="*/ 2178326 w 5380977"/>
                <a:gd name="connsiteY13" fmla="*/ 2135699 h 5237039"/>
                <a:gd name="connsiteX14" fmla="*/ 1538246 w 5380977"/>
                <a:gd name="connsiteY14" fmla="*/ 344999 h 5237039"/>
                <a:gd name="connsiteX15" fmla="*/ 2152926 w 5380977"/>
                <a:gd name="connsiteY15" fmla="*/ 149419 h 5237039"/>
                <a:gd name="connsiteX16" fmla="*/ 2838726 w 5380977"/>
                <a:gd name="connsiteY16" fmla="*/ 1929959 h 5237039"/>
                <a:gd name="connsiteX17" fmla="*/ 3039386 w 5380977"/>
                <a:gd name="connsiteY17" fmla="*/ 1896939 h 5237039"/>
                <a:gd name="connsiteX18" fmla="*/ 2859046 w 5380977"/>
                <a:gd name="connsiteY18" fmla="*/ 322139 h 5237039"/>
                <a:gd name="connsiteX19" fmla="*/ 3544846 w 5380977"/>
                <a:gd name="connsiteY19" fmla="*/ 195139 h 5237039"/>
                <a:gd name="connsiteX20" fmla="*/ 3798846 w 5380977"/>
                <a:gd name="connsiteY20" fmla="*/ 2392239 h 5237039"/>
                <a:gd name="connsiteX21" fmla="*/ 4017286 w 5380977"/>
                <a:gd name="connsiteY21" fmla="*/ 2437959 h 5237039"/>
                <a:gd name="connsiteX22" fmla="*/ 4306846 w 5380977"/>
                <a:gd name="connsiteY22" fmla="*/ 1795339 h 5237039"/>
                <a:gd name="connsiteX23" fmla="*/ 4725946 w 5380977"/>
                <a:gd name="connsiteY23" fmla="*/ 1312739 h 5237039"/>
                <a:gd name="connsiteX24" fmla="*/ 5170446 w 5380977"/>
                <a:gd name="connsiteY24" fmla="*/ 1350839 h 5237039"/>
                <a:gd name="connsiteX25" fmla="*/ 5348246 w 5380977"/>
                <a:gd name="connsiteY25" fmla="*/ 1515939 h 5237039"/>
                <a:gd name="connsiteX26" fmla="*/ 4916446 w 5380977"/>
                <a:gd name="connsiteY26" fmla="*/ 1998539 h 5237039"/>
                <a:gd name="connsiteX27" fmla="*/ 4268746 w 5380977"/>
                <a:gd name="connsiteY27" fmla="*/ 4297239 h 5237039"/>
                <a:gd name="connsiteX28" fmla="*/ 3887746 w 5380977"/>
                <a:gd name="connsiteY28" fmla="*/ 4843339 h 5237039"/>
                <a:gd name="connsiteX29" fmla="*/ 3265446 w 5380977"/>
                <a:gd name="connsiteY29" fmla="*/ 5148139 h 5237039"/>
                <a:gd name="connsiteX30" fmla="*/ 2909846 w 5380977"/>
                <a:gd name="connsiteY30" fmla="*/ 5237039 h 5237039"/>
                <a:gd name="connsiteX0" fmla="*/ 2909846 w 5350069"/>
                <a:gd name="connsiteY0" fmla="*/ 5237039 h 5237039"/>
                <a:gd name="connsiteX1" fmla="*/ 2909846 w 5350069"/>
                <a:gd name="connsiteY1" fmla="*/ 5237039 h 5237039"/>
                <a:gd name="connsiteX2" fmla="*/ 2257066 w 5350069"/>
                <a:gd name="connsiteY2" fmla="*/ 5122739 h 5237039"/>
                <a:gd name="connsiteX3" fmla="*/ 1665246 w 5350069"/>
                <a:gd name="connsiteY3" fmla="*/ 4614739 h 5237039"/>
                <a:gd name="connsiteX4" fmla="*/ 1124226 w 5350069"/>
                <a:gd name="connsiteY4" fmla="*/ 3593659 h 5237039"/>
                <a:gd name="connsiteX5" fmla="*/ 16786 w 5350069"/>
                <a:gd name="connsiteY5" fmla="*/ 1970599 h 5237039"/>
                <a:gd name="connsiteX6" fmla="*/ 514626 w 5350069"/>
                <a:gd name="connsiteY6" fmla="*/ 1620079 h 5237039"/>
                <a:gd name="connsiteX7" fmla="*/ 1309646 w 5350069"/>
                <a:gd name="connsiteY7" fmla="*/ 2785939 h 5237039"/>
                <a:gd name="connsiteX8" fmla="*/ 1512846 w 5350069"/>
                <a:gd name="connsiteY8" fmla="*/ 2887539 h 5237039"/>
                <a:gd name="connsiteX9" fmla="*/ 1550946 w 5350069"/>
                <a:gd name="connsiteY9" fmla="*/ 2798639 h 5237039"/>
                <a:gd name="connsiteX10" fmla="*/ 585746 w 5350069"/>
                <a:gd name="connsiteY10" fmla="*/ 995239 h 5237039"/>
                <a:gd name="connsiteX11" fmla="*/ 1258846 w 5350069"/>
                <a:gd name="connsiteY11" fmla="*/ 779339 h 5237039"/>
                <a:gd name="connsiteX12" fmla="*/ 1995446 w 5350069"/>
                <a:gd name="connsiteY12" fmla="*/ 2252539 h 5237039"/>
                <a:gd name="connsiteX13" fmla="*/ 2178326 w 5350069"/>
                <a:gd name="connsiteY13" fmla="*/ 2135699 h 5237039"/>
                <a:gd name="connsiteX14" fmla="*/ 1538246 w 5350069"/>
                <a:gd name="connsiteY14" fmla="*/ 344999 h 5237039"/>
                <a:gd name="connsiteX15" fmla="*/ 2152926 w 5350069"/>
                <a:gd name="connsiteY15" fmla="*/ 149419 h 5237039"/>
                <a:gd name="connsiteX16" fmla="*/ 2838726 w 5350069"/>
                <a:gd name="connsiteY16" fmla="*/ 1929959 h 5237039"/>
                <a:gd name="connsiteX17" fmla="*/ 3039386 w 5350069"/>
                <a:gd name="connsiteY17" fmla="*/ 1896939 h 5237039"/>
                <a:gd name="connsiteX18" fmla="*/ 2859046 w 5350069"/>
                <a:gd name="connsiteY18" fmla="*/ 322139 h 5237039"/>
                <a:gd name="connsiteX19" fmla="*/ 3544846 w 5350069"/>
                <a:gd name="connsiteY19" fmla="*/ 195139 h 5237039"/>
                <a:gd name="connsiteX20" fmla="*/ 3798846 w 5350069"/>
                <a:gd name="connsiteY20" fmla="*/ 2392239 h 5237039"/>
                <a:gd name="connsiteX21" fmla="*/ 4017286 w 5350069"/>
                <a:gd name="connsiteY21" fmla="*/ 2437959 h 5237039"/>
                <a:gd name="connsiteX22" fmla="*/ 4306846 w 5350069"/>
                <a:gd name="connsiteY22" fmla="*/ 1795339 h 5237039"/>
                <a:gd name="connsiteX23" fmla="*/ 4725946 w 5350069"/>
                <a:gd name="connsiteY23" fmla="*/ 1312739 h 5237039"/>
                <a:gd name="connsiteX24" fmla="*/ 5348246 w 5350069"/>
                <a:gd name="connsiteY24" fmla="*/ 1515939 h 5237039"/>
                <a:gd name="connsiteX25" fmla="*/ 4916446 w 5350069"/>
                <a:gd name="connsiteY25" fmla="*/ 1998539 h 5237039"/>
                <a:gd name="connsiteX26" fmla="*/ 4268746 w 5350069"/>
                <a:gd name="connsiteY26" fmla="*/ 4297239 h 5237039"/>
                <a:gd name="connsiteX27" fmla="*/ 3887746 w 5350069"/>
                <a:gd name="connsiteY27" fmla="*/ 4843339 h 5237039"/>
                <a:gd name="connsiteX28" fmla="*/ 3265446 w 5350069"/>
                <a:gd name="connsiteY28" fmla="*/ 5148139 h 5237039"/>
                <a:gd name="connsiteX29" fmla="*/ 2909846 w 5350069"/>
                <a:gd name="connsiteY29" fmla="*/ 5237039 h 5237039"/>
                <a:gd name="connsiteX0" fmla="*/ 2909846 w 5312878"/>
                <a:gd name="connsiteY0" fmla="*/ 5237039 h 5237039"/>
                <a:gd name="connsiteX1" fmla="*/ 2909846 w 5312878"/>
                <a:gd name="connsiteY1" fmla="*/ 5237039 h 5237039"/>
                <a:gd name="connsiteX2" fmla="*/ 2257066 w 5312878"/>
                <a:gd name="connsiteY2" fmla="*/ 5122739 h 5237039"/>
                <a:gd name="connsiteX3" fmla="*/ 1665246 w 5312878"/>
                <a:gd name="connsiteY3" fmla="*/ 4614739 h 5237039"/>
                <a:gd name="connsiteX4" fmla="*/ 1124226 w 5312878"/>
                <a:gd name="connsiteY4" fmla="*/ 3593659 h 5237039"/>
                <a:gd name="connsiteX5" fmla="*/ 16786 w 5312878"/>
                <a:gd name="connsiteY5" fmla="*/ 1970599 h 5237039"/>
                <a:gd name="connsiteX6" fmla="*/ 514626 w 5312878"/>
                <a:gd name="connsiteY6" fmla="*/ 1620079 h 5237039"/>
                <a:gd name="connsiteX7" fmla="*/ 1309646 w 5312878"/>
                <a:gd name="connsiteY7" fmla="*/ 2785939 h 5237039"/>
                <a:gd name="connsiteX8" fmla="*/ 1512846 w 5312878"/>
                <a:gd name="connsiteY8" fmla="*/ 2887539 h 5237039"/>
                <a:gd name="connsiteX9" fmla="*/ 1550946 w 5312878"/>
                <a:gd name="connsiteY9" fmla="*/ 2798639 h 5237039"/>
                <a:gd name="connsiteX10" fmla="*/ 585746 w 5312878"/>
                <a:gd name="connsiteY10" fmla="*/ 995239 h 5237039"/>
                <a:gd name="connsiteX11" fmla="*/ 1258846 w 5312878"/>
                <a:gd name="connsiteY11" fmla="*/ 779339 h 5237039"/>
                <a:gd name="connsiteX12" fmla="*/ 1995446 w 5312878"/>
                <a:gd name="connsiteY12" fmla="*/ 2252539 h 5237039"/>
                <a:gd name="connsiteX13" fmla="*/ 2178326 w 5312878"/>
                <a:gd name="connsiteY13" fmla="*/ 2135699 h 5237039"/>
                <a:gd name="connsiteX14" fmla="*/ 1538246 w 5312878"/>
                <a:gd name="connsiteY14" fmla="*/ 344999 h 5237039"/>
                <a:gd name="connsiteX15" fmla="*/ 2152926 w 5312878"/>
                <a:gd name="connsiteY15" fmla="*/ 149419 h 5237039"/>
                <a:gd name="connsiteX16" fmla="*/ 2838726 w 5312878"/>
                <a:gd name="connsiteY16" fmla="*/ 1929959 h 5237039"/>
                <a:gd name="connsiteX17" fmla="*/ 3039386 w 5312878"/>
                <a:gd name="connsiteY17" fmla="*/ 1896939 h 5237039"/>
                <a:gd name="connsiteX18" fmla="*/ 2859046 w 5312878"/>
                <a:gd name="connsiteY18" fmla="*/ 322139 h 5237039"/>
                <a:gd name="connsiteX19" fmla="*/ 3544846 w 5312878"/>
                <a:gd name="connsiteY19" fmla="*/ 195139 h 5237039"/>
                <a:gd name="connsiteX20" fmla="*/ 3798846 w 5312878"/>
                <a:gd name="connsiteY20" fmla="*/ 2392239 h 5237039"/>
                <a:gd name="connsiteX21" fmla="*/ 4017286 w 5312878"/>
                <a:gd name="connsiteY21" fmla="*/ 2437959 h 5237039"/>
                <a:gd name="connsiteX22" fmla="*/ 4306846 w 5312878"/>
                <a:gd name="connsiteY22" fmla="*/ 1795339 h 5237039"/>
                <a:gd name="connsiteX23" fmla="*/ 4725946 w 5312878"/>
                <a:gd name="connsiteY23" fmla="*/ 1312739 h 5237039"/>
                <a:gd name="connsiteX24" fmla="*/ 5310146 w 5312878"/>
                <a:gd name="connsiteY24" fmla="*/ 1477839 h 5237039"/>
                <a:gd name="connsiteX25" fmla="*/ 4916446 w 5312878"/>
                <a:gd name="connsiteY25" fmla="*/ 1998539 h 5237039"/>
                <a:gd name="connsiteX26" fmla="*/ 4268746 w 5312878"/>
                <a:gd name="connsiteY26" fmla="*/ 4297239 h 5237039"/>
                <a:gd name="connsiteX27" fmla="*/ 3887746 w 5312878"/>
                <a:gd name="connsiteY27" fmla="*/ 4843339 h 5237039"/>
                <a:gd name="connsiteX28" fmla="*/ 3265446 w 5312878"/>
                <a:gd name="connsiteY28" fmla="*/ 5148139 h 5237039"/>
                <a:gd name="connsiteX29" fmla="*/ 2909846 w 5312878"/>
                <a:gd name="connsiteY29" fmla="*/ 5237039 h 5237039"/>
                <a:gd name="connsiteX0" fmla="*/ 2909846 w 5312878"/>
                <a:gd name="connsiteY0" fmla="*/ 5237039 h 5237039"/>
                <a:gd name="connsiteX1" fmla="*/ 2909846 w 5312878"/>
                <a:gd name="connsiteY1" fmla="*/ 5237039 h 5237039"/>
                <a:gd name="connsiteX2" fmla="*/ 2257066 w 5312878"/>
                <a:gd name="connsiteY2" fmla="*/ 5122739 h 5237039"/>
                <a:gd name="connsiteX3" fmla="*/ 1665246 w 5312878"/>
                <a:gd name="connsiteY3" fmla="*/ 4614739 h 5237039"/>
                <a:gd name="connsiteX4" fmla="*/ 1124226 w 5312878"/>
                <a:gd name="connsiteY4" fmla="*/ 3593659 h 5237039"/>
                <a:gd name="connsiteX5" fmla="*/ 16786 w 5312878"/>
                <a:gd name="connsiteY5" fmla="*/ 1970599 h 5237039"/>
                <a:gd name="connsiteX6" fmla="*/ 514626 w 5312878"/>
                <a:gd name="connsiteY6" fmla="*/ 1620079 h 5237039"/>
                <a:gd name="connsiteX7" fmla="*/ 1309646 w 5312878"/>
                <a:gd name="connsiteY7" fmla="*/ 2785939 h 5237039"/>
                <a:gd name="connsiteX8" fmla="*/ 1512846 w 5312878"/>
                <a:gd name="connsiteY8" fmla="*/ 2887539 h 5237039"/>
                <a:gd name="connsiteX9" fmla="*/ 1550946 w 5312878"/>
                <a:gd name="connsiteY9" fmla="*/ 2798639 h 5237039"/>
                <a:gd name="connsiteX10" fmla="*/ 585746 w 5312878"/>
                <a:gd name="connsiteY10" fmla="*/ 995239 h 5237039"/>
                <a:gd name="connsiteX11" fmla="*/ 1258846 w 5312878"/>
                <a:gd name="connsiteY11" fmla="*/ 779339 h 5237039"/>
                <a:gd name="connsiteX12" fmla="*/ 1995446 w 5312878"/>
                <a:gd name="connsiteY12" fmla="*/ 2252539 h 5237039"/>
                <a:gd name="connsiteX13" fmla="*/ 2178326 w 5312878"/>
                <a:gd name="connsiteY13" fmla="*/ 2135699 h 5237039"/>
                <a:gd name="connsiteX14" fmla="*/ 1538246 w 5312878"/>
                <a:gd name="connsiteY14" fmla="*/ 344999 h 5237039"/>
                <a:gd name="connsiteX15" fmla="*/ 2152926 w 5312878"/>
                <a:gd name="connsiteY15" fmla="*/ 149419 h 5237039"/>
                <a:gd name="connsiteX16" fmla="*/ 2838726 w 5312878"/>
                <a:gd name="connsiteY16" fmla="*/ 1929959 h 5237039"/>
                <a:gd name="connsiteX17" fmla="*/ 3039386 w 5312878"/>
                <a:gd name="connsiteY17" fmla="*/ 1896939 h 5237039"/>
                <a:gd name="connsiteX18" fmla="*/ 2859046 w 5312878"/>
                <a:gd name="connsiteY18" fmla="*/ 322139 h 5237039"/>
                <a:gd name="connsiteX19" fmla="*/ 3544846 w 5312878"/>
                <a:gd name="connsiteY19" fmla="*/ 195139 h 5237039"/>
                <a:gd name="connsiteX20" fmla="*/ 3798846 w 5312878"/>
                <a:gd name="connsiteY20" fmla="*/ 2392239 h 5237039"/>
                <a:gd name="connsiteX21" fmla="*/ 4017286 w 5312878"/>
                <a:gd name="connsiteY21" fmla="*/ 2437959 h 5237039"/>
                <a:gd name="connsiteX22" fmla="*/ 4283986 w 5312878"/>
                <a:gd name="connsiteY22" fmla="*/ 1719139 h 5237039"/>
                <a:gd name="connsiteX23" fmla="*/ 4725946 w 5312878"/>
                <a:gd name="connsiteY23" fmla="*/ 1312739 h 5237039"/>
                <a:gd name="connsiteX24" fmla="*/ 5310146 w 5312878"/>
                <a:gd name="connsiteY24" fmla="*/ 1477839 h 5237039"/>
                <a:gd name="connsiteX25" fmla="*/ 4916446 w 5312878"/>
                <a:gd name="connsiteY25" fmla="*/ 1998539 h 5237039"/>
                <a:gd name="connsiteX26" fmla="*/ 4268746 w 5312878"/>
                <a:gd name="connsiteY26" fmla="*/ 4297239 h 5237039"/>
                <a:gd name="connsiteX27" fmla="*/ 3887746 w 5312878"/>
                <a:gd name="connsiteY27" fmla="*/ 4843339 h 5237039"/>
                <a:gd name="connsiteX28" fmla="*/ 3265446 w 5312878"/>
                <a:gd name="connsiteY28" fmla="*/ 5148139 h 5237039"/>
                <a:gd name="connsiteX29" fmla="*/ 2909846 w 5312878"/>
                <a:gd name="connsiteY29" fmla="*/ 5237039 h 5237039"/>
                <a:gd name="connsiteX0" fmla="*/ 2909846 w 5312878"/>
                <a:gd name="connsiteY0" fmla="*/ 5237039 h 5237039"/>
                <a:gd name="connsiteX1" fmla="*/ 2909846 w 5312878"/>
                <a:gd name="connsiteY1" fmla="*/ 5237039 h 5237039"/>
                <a:gd name="connsiteX2" fmla="*/ 2257066 w 5312878"/>
                <a:gd name="connsiteY2" fmla="*/ 5122739 h 5237039"/>
                <a:gd name="connsiteX3" fmla="*/ 1665246 w 5312878"/>
                <a:gd name="connsiteY3" fmla="*/ 4614739 h 5237039"/>
                <a:gd name="connsiteX4" fmla="*/ 1124226 w 5312878"/>
                <a:gd name="connsiteY4" fmla="*/ 3593659 h 5237039"/>
                <a:gd name="connsiteX5" fmla="*/ 16786 w 5312878"/>
                <a:gd name="connsiteY5" fmla="*/ 1970599 h 5237039"/>
                <a:gd name="connsiteX6" fmla="*/ 514626 w 5312878"/>
                <a:gd name="connsiteY6" fmla="*/ 1620079 h 5237039"/>
                <a:gd name="connsiteX7" fmla="*/ 1309646 w 5312878"/>
                <a:gd name="connsiteY7" fmla="*/ 2785939 h 5237039"/>
                <a:gd name="connsiteX8" fmla="*/ 1512846 w 5312878"/>
                <a:gd name="connsiteY8" fmla="*/ 2887539 h 5237039"/>
                <a:gd name="connsiteX9" fmla="*/ 1550946 w 5312878"/>
                <a:gd name="connsiteY9" fmla="*/ 2798639 h 5237039"/>
                <a:gd name="connsiteX10" fmla="*/ 585746 w 5312878"/>
                <a:gd name="connsiteY10" fmla="*/ 995239 h 5237039"/>
                <a:gd name="connsiteX11" fmla="*/ 1258846 w 5312878"/>
                <a:gd name="connsiteY11" fmla="*/ 779339 h 5237039"/>
                <a:gd name="connsiteX12" fmla="*/ 1995446 w 5312878"/>
                <a:gd name="connsiteY12" fmla="*/ 2252539 h 5237039"/>
                <a:gd name="connsiteX13" fmla="*/ 2178326 w 5312878"/>
                <a:gd name="connsiteY13" fmla="*/ 2135699 h 5237039"/>
                <a:gd name="connsiteX14" fmla="*/ 1538246 w 5312878"/>
                <a:gd name="connsiteY14" fmla="*/ 344999 h 5237039"/>
                <a:gd name="connsiteX15" fmla="*/ 2152926 w 5312878"/>
                <a:gd name="connsiteY15" fmla="*/ 149419 h 5237039"/>
                <a:gd name="connsiteX16" fmla="*/ 2838726 w 5312878"/>
                <a:gd name="connsiteY16" fmla="*/ 1929959 h 5237039"/>
                <a:gd name="connsiteX17" fmla="*/ 3039386 w 5312878"/>
                <a:gd name="connsiteY17" fmla="*/ 1896939 h 5237039"/>
                <a:gd name="connsiteX18" fmla="*/ 2859046 w 5312878"/>
                <a:gd name="connsiteY18" fmla="*/ 322139 h 5237039"/>
                <a:gd name="connsiteX19" fmla="*/ 3544846 w 5312878"/>
                <a:gd name="connsiteY19" fmla="*/ 195139 h 5237039"/>
                <a:gd name="connsiteX20" fmla="*/ 3798846 w 5312878"/>
                <a:gd name="connsiteY20" fmla="*/ 2392239 h 5237039"/>
                <a:gd name="connsiteX21" fmla="*/ 4017286 w 5312878"/>
                <a:gd name="connsiteY21" fmla="*/ 2437959 h 5237039"/>
                <a:gd name="connsiteX22" fmla="*/ 4283986 w 5312878"/>
                <a:gd name="connsiteY22" fmla="*/ 1719139 h 5237039"/>
                <a:gd name="connsiteX23" fmla="*/ 4725946 w 5312878"/>
                <a:gd name="connsiteY23" fmla="*/ 1312739 h 5237039"/>
                <a:gd name="connsiteX24" fmla="*/ 5310146 w 5312878"/>
                <a:gd name="connsiteY24" fmla="*/ 1477839 h 5237039"/>
                <a:gd name="connsiteX25" fmla="*/ 4916446 w 5312878"/>
                <a:gd name="connsiteY25" fmla="*/ 1998539 h 5237039"/>
                <a:gd name="connsiteX26" fmla="*/ 4268746 w 5312878"/>
                <a:gd name="connsiteY26" fmla="*/ 4297239 h 5237039"/>
                <a:gd name="connsiteX27" fmla="*/ 3887746 w 5312878"/>
                <a:gd name="connsiteY27" fmla="*/ 4843339 h 5237039"/>
                <a:gd name="connsiteX28" fmla="*/ 3265446 w 5312878"/>
                <a:gd name="connsiteY28" fmla="*/ 5148139 h 5237039"/>
                <a:gd name="connsiteX29" fmla="*/ 2909846 w 5312878"/>
                <a:gd name="connsiteY29" fmla="*/ 5237039 h 5237039"/>
                <a:gd name="connsiteX0" fmla="*/ 2909846 w 5312878"/>
                <a:gd name="connsiteY0" fmla="*/ 5237039 h 5237039"/>
                <a:gd name="connsiteX1" fmla="*/ 2909846 w 5312878"/>
                <a:gd name="connsiteY1" fmla="*/ 5237039 h 5237039"/>
                <a:gd name="connsiteX2" fmla="*/ 2257066 w 5312878"/>
                <a:gd name="connsiteY2" fmla="*/ 5122739 h 5237039"/>
                <a:gd name="connsiteX3" fmla="*/ 1665246 w 5312878"/>
                <a:gd name="connsiteY3" fmla="*/ 4614739 h 5237039"/>
                <a:gd name="connsiteX4" fmla="*/ 1124226 w 5312878"/>
                <a:gd name="connsiteY4" fmla="*/ 3593659 h 5237039"/>
                <a:gd name="connsiteX5" fmla="*/ 16786 w 5312878"/>
                <a:gd name="connsiteY5" fmla="*/ 1970599 h 5237039"/>
                <a:gd name="connsiteX6" fmla="*/ 514626 w 5312878"/>
                <a:gd name="connsiteY6" fmla="*/ 1620079 h 5237039"/>
                <a:gd name="connsiteX7" fmla="*/ 1309646 w 5312878"/>
                <a:gd name="connsiteY7" fmla="*/ 2785939 h 5237039"/>
                <a:gd name="connsiteX8" fmla="*/ 1512846 w 5312878"/>
                <a:gd name="connsiteY8" fmla="*/ 2887539 h 5237039"/>
                <a:gd name="connsiteX9" fmla="*/ 1550946 w 5312878"/>
                <a:gd name="connsiteY9" fmla="*/ 2798639 h 5237039"/>
                <a:gd name="connsiteX10" fmla="*/ 585746 w 5312878"/>
                <a:gd name="connsiteY10" fmla="*/ 995239 h 5237039"/>
                <a:gd name="connsiteX11" fmla="*/ 1258846 w 5312878"/>
                <a:gd name="connsiteY11" fmla="*/ 779339 h 5237039"/>
                <a:gd name="connsiteX12" fmla="*/ 1995446 w 5312878"/>
                <a:gd name="connsiteY12" fmla="*/ 2252539 h 5237039"/>
                <a:gd name="connsiteX13" fmla="*/ 2178326 w 5312878"/>
                <a:gd name="connsiteY13" fmla="*/ 2135699 h 5237039"/>
                <a:gd name="connsiteX14" fmla="*/ 1538246 w 5312878"/>
                <a:gd name="connsiteY14" fmla="*/ 344999 h 5237039"/>
                <a:gd name="connsiteX15" fmla="*/ 2152926 w 5312878"/>
                <a:gd name="connsiteY15" fmla="*/ 149419 h 5237039"/>
                <a:gd name="connsiteX16" fmla="*/ 2838726 w 5312878"/>
                <a:gd name="connsiteY16" fmla="*/ 1929959 h 5237039"/>
                <a:gd name="connsiteX17" fmla="*/ 3039386 w 5312878"/>
                <a:gd name="connsiteY17" fmla="*/ 1896939 h 5237039"/>
                <a:gd name="connsiteX18" fmla="*/ 2859046 w 5312878"/>
                <a:gd name="connsiteY18" fmla="*/ 322139 h 5237039"/>
                <a:gd name="connsiteX19" fmla="*/ 3544846 w 5312878"/>
                <a:gd name="connsiteY19" fmla="*/ 195139 h 5237039"/>
                <a:gd name="connsiteX20" fmla="*/ 3798846 w 5312878"/>
                <a:gd name="connsiteY20" fmla="*/ 2392239 h 5237039"/>
                <a:gd name="connsiteX21" fmla="*/ 4017286 w 5312878"/>
                <a:gd name="connsiteY21" fmla="*/ 2437959 h 5237039"/>
                <a:gd name="connsiteX22" fmla="*/ 4283986 w 5312878"/>
                <a:gd name="connsiteY22" fmla="*/ 1719139 h 5237039"/>
                <a:gd name="connsiteX23" fmla="*/ 4725946 w 5312878"/>
                <a:gd name="connsiteY23" fmla="*/ 1312739 h 5237039"/>
                <a:gd name="connsiteX24" fmla="*/ 5310146 w 5312878"/>
                <a:gd name="connsiteY24" fmla="*/ 1477839 h 5237039"/>
                <a:gd name="connsiteX25" fmla="*/ 4916446 w 5312878"/>
                <a:gd name="connsiteY25" fmla="*/ 1998539 h 5237039"/>
                <a:gd name="connsiteX26" fmla="*/ 4268746 w 5312878"/>
                <a:gd name="connsiteY26" fmla="*/ 4297239 h 5237039"/>
                <a:gd name="connsiteX27" fmla="*/ 3887746 w 5312878"/>
                <a:gd name="connsiteY27" fmla="*/ 4843339 h 5237039"/>
                <a:gd name="connsiteX28" fmla="*/ 3265446 w 5312878"/>
                <a:gd name="connsiteY28" fmla="*/ 5148139 h 5237039"/>
                <a:gd name="connsiteX29" fmla="*/ 2909846 w 5312878"/>
                <a:gd name="connsiteY29" fmla="*/ 5237039 h 5237039"/>
                <a:gd name="connsiteX0" fmla="*/ 2909846 w 5312878"/>
                <a:gd name="connsiteY0" fmla="*/ 5237039 h 5237039"/>
                <a:gd name="connsiteX1" fmla="*/ 2909846 w 5312878"/>
                <a:gd name="connsiteY1" fmla="*/ 5237039 h 5237039"/>
                <a:gd name="connsiteX2" fmla="*/ 2257066 w 5312878"/>
                <a:gd name="connsiteY2" fmla="*/ 5122739 h 5237039"/>
                <a:gd name="connsiteX3" fmla="*/ 1665246 w 5312878"/>
                <a:gd name="connsiteY3" fmla="*/ 4614739 h 5237039"/>
                <a:gd name="connsiteX4" fmla="*/ 1124226 w 5312878"/>
                <a:gd name="connsiteY4" fmla="*/ 3593659 h 5237039"/>
                <a:gd name="connsiteX5" fmla="*/ 16786 w 5312878"/>
                <a:gd name="connsiteY5" fmla="*/ 1970599 h 5237039"/>
                <a:gd name="connsiteX6" fmla="*/ 514626 w 5312878"/>
                <a:gd name="connsiteY6" fmla="*/ 1620079 h 5237039"/>
                <a:gd name="connsiteX7" fmla="*/ 1309646 w 5312878"/>
                <a:gd name="connsiteY7" fmla="*/ 2785939 h 5237039"/>
                <a:gd name="connsiteX8" fmla="*/ 1512846 w 5312878"/>
                <a:gd name="connsiteY8" fmla="*/ 2887539 h 5237039"/>
                <a:gd name="connsiteX9" fmla="*/ 1550946 w 5312878"/>
                <a:gd name="connsiteY9" fmla="*/ 2798639 h 5237039"/>
                <a:gd name="connsiteX10" fmla="*/ 585746 w 5312878"/>
                <a:gd name="connsiteY10" fmla="*/ 995239 h 5237039"/>
                <a:gd name="connsiteX11" fmla="*/ 1258846 w 5312878"/>
                <a:gd name="connsiteY11" fmla="*/ 779339 h 5237039"/>
                <a:gd name="connsiteX12" fmla="*/ 1995446 w 5312878"/>
                <a:gd name="connsiteY12" fmla="*/ 2252539 h 5237039"/>
                <a:gd name="connsiteX13" fmla="*/ 2178326 w 5312878"/>
                <a:gd name="connsiteY13" fmla="*/ 2135699 h 5237039"/>
                <a:gd name="connsiteX14" fmla="*/ 1538246 w 5312878"/>
                <a:gd name="connsiteY14" fmla="*/ 344999 h 5237039"/>
                <a:gd name="connsiteX15" fmla="*/ 2152926 w 5312878"/>
                <a:gd name="connsiteY15" fmla="*/ 149419 h 5237039"/>
                <a:gd name="connsiteX16" fmla="*/ 2838726 w 5312878"/>
                <a:gd name="connsiteY16" fmla="*/ 1929959 h 5237039"/>
                <a:gd name="connsiteX17" fmla="*/ 3039386 w 5312878"/>
                <a:gd name="connsiteY17" fmla="*/ 1896939 h 5237039"/>
                <a:gd name="connsiteX18" fmla="*/ 2859046 w 5312878"/>
                <a:gd name="connsiteY18" fmla="*/ 322139 h 5237039"/>
                <a:gd name="connsiteX19" fmla="*/ 3544846 w 5312878"/>
                <a:gd name="connsiteY19" fmla="*/ 195139 h 5237039"/>
                <a:gd name="connsiteX20" fmla="*/ 3798846 w 5312878"/>
                <a:gd name="connsiteY20" fmla="*/ 2392239 h 5237039"/>
                <a:gd name="connsiteX21" fmla="*/ 4017286 w 5312878"/>
                <a:gd name="connsiteY21" fmla="*/ 2437959 h 5237039"/>
                <a:gd name="connsiteX22" fmla="*/ 4283986 w 5312878"/>
                <a:gd name="connsiteY22" fmla="*/ 1719139 h 5237039"/>
                <a:gd name="connsiteX23" fmla="*/ 4725946 w 5312878"/>
                <a:gd name="connsiteY23" fmla="*/ 1312739 h 5237039"/>
                <a:gd name="connsiteX24" fmla="*/ 5310146 w 5312878"/>
                <a:gd name="connsiteY24" fmla="*/ 1477839 h 5237039"/>
                <a:gd name="connsiteX25" fmla="*/ 4916446 w 5312878"/>
                <a:gd name="connsiteY25" fmla="*/ 1998539 h 5237039"/>
                <a:gd name="connsiteX26" fmla="*/ 4268746 w 5312878"/>
                <a:gd name="connsiteY26" fmla="*/ 4297239 h 5237039"/>
                <a:gd name="connsiteX27" fmla="*/ 3887746 w 5312878"/>
                <a:gd name="connsiteY27" fmla="*/ 4843339 h 5237039"/>
                <a:gd name="connsiteX28" fmla="*/ 3265446 w 5312878"/>
                <a:gd name="connsiteY28" fmla="*/ 5148139 h 5237039"/>
                <a:gd name="connsiteX29" fmla="*/ 2909846 w 5312878"/>
                <a:gd name="connsiteY29" fmla="*/ 5237039 h 5237039"/>
                <a:gd name="connsiteX0" fmla="*/ 2909846 w 5312878"/>
                <a:gd name="connsiteY0" fmla="*/ 5237039 h 5237039"/>
                <a:gd name="connsiteX1" fmla="*/ 2909846 w 5312878"/>
                <a:gd name="connsiteY1" fmla="*/ 5237039 h 5237039"/>
                <a:gd name="connsiteX2" fmla="*/ 2257066 w 5312878"/>
                <a:gd name="connsiteY2" fmla="*/ 5122739 h 5237039"/>
                <a:gd name="connsiteX3" fmla="*/ 1665246 w 5312878"/>
                <a:gd name="connsiteY3" fmla="*/ 4614739 h 5237039"/>
                <a:gd name="connsiteX4" fmla="*/ 1124226 w 5312878"/>
                <a:gd name="connsiteY4" fmla="*/ 3593659 h 5237039"/>
                <a:gd name="connsiteX5" fmla="*/ 16786 w 5312878"/>
                <a:gd name="connsiteY5" fmla="*/ 1970599 h 5237039"/>
                <a:gd name="connsiteX6" fmla="*/ 514626 w 5312878"/>
                <a:gd name="connsiteY6" fmla="*/ 1620079 h 5237039"/>
                <a:gd name="connsiteX7" fmla="*/ 1309646 w 5312878"/>
                <a:gd name="connsiteY7" fmla="*/ 2785939 h 5237039"/>
                <a:gd name="connsiteX8" fmla="*/ 1512846 w 5312878"/>
                <a:gd name="connsiteY8" fmla="*/ 2887539 h 5237039"/>
                <a:gd name="connsiteX9" fmla="*/ 1550946 w 5312878"/>
                <a:gd name="connsiteY9" fmla="*/ 2798639 h 5237039"/>
                <a:gd name="connsiteX10" fmla="*/ 585746 w 5312878"/>
                <a:gd name="connsiteY10" fmla="*/ 995239 h 5237039"/>
                <a:gd name="connsiteX11" fmla="*/ 1258846 w 5312878"/>
                <a:gd name="connsiteY11" fmla="*/ 779339 h 5237039"/>
                <a:gd name="connsiteX12" fmla="*/ 1995446 w 5312878"/>
                <a:gd name="connsiteY12" fmla="*/ 2252539 h 5237039"/>
                <a:gd name="connsiteX13" fmla="*/ 2178326 w 5312878"/>
                <a:gd name="connsiteY13" fmla="*/ 2135699 h 5237039"/>
                <a:gd name="connsiteX14" fmla="*/ 1538246 w 5312878"/>
                <a:gd name="connsiteY14" fmla="*/ 344999 h 5237039"/>
                <a:gd name="connsiteX15" fmla="*/ 2152926 w 5312878"/>
                <a:gd name="connsiteY15" fmla="*/ 149419 h 5237039"/>
                <a:gd name="connsiteX16" fmla="*/ 2838726 w 5312878"/>
                <a:gd name="connsiteY16" fmla="*/ 1929959 h 5237039"/>
                <a:gd name="connsiteX17" fmla="*/ 3039386 w 5312878"/>
                <a:gd name="connsiteY17" fmla="*/ 1896939 h 5237039"/>
                <a:gd name="connsiteX18" fmla="*/ 2859046 w 5312878"/>
                <a:gd name="connsiteY18" fmla="*/ 322139 h 5237039"/>
                <a:gd name="connsiteX19" fmla="*/ 3544846 w 5312878"/>
                <a:gd name="connsiteY19" fmla="*/ 195139 h 5237039"/>
                <a:gd name="connsiteX20" fmla="*/ 3798846 w 5312878"/>
                <a:gd name="connsiteY20" fmla="*/ 2392239 h 5237039"/>
                <a:gd name="connsiteX21" fmla="*/ 4017286 w 5312878"/>
                <a:gd name="connsiteY21" fmla="*/ 2437959 h 5237039"/>
                <a:gd name="connsiteX22" fmla="*/ 4283986 w 5312878"/>
                <a:gd name="connsiteY22" fmla="*/ 1719139 h 5237039"/>
                <a:gd name="connsiteX23" fmla="*/ 4725946 w 5312878"/>
                <a:gd name="connsiteY23" fmla="*/ 1312739 h 5237039"/>
                <a:gd name="connsiteX24" fmla="*/ 5310146 w 5312878"/>
                <a:gd name="connsiteY24" fmla="*/ 1477839 h 5237039"/>
                <a:gd name="connsiteX25" fmla="*/ 4916446 w 5312878"/>
                <a:gd name="connsiteY25" fmla="*/ 1998539 h 5237039"/>
                <a:gd name="connsiteX26" fmla="*/ 4268746 w 5312878"/>
                <a:gd name="connsiteY26" fmla="*/ 4297239 h 5237039"/>
                <a:gd name="connsiteX27" fmla="*/ 3887746 w 5312878"/>
                <a:gd name="connsiteY27" fmla="*/ 4843339 h 5237039"/>
                <a:gd name="connsiteX28" fmla="*/ 3265446 w 5312878"/>
                <a:gd name="connsiteY28" fmla="*/ 5148139 h 5237039"/>
                <a:gd name="connsiteX29" fmla="*/ 2909846 w 5312878"/>
                <a:gd name="connsiteY29" fmla="*/ 5237039 h 5237039"/>
                <a:gd name="connsiteX0" fmla="*/ 2909846 w 5312878"/>
                <a:gd name="connsiteY0" fmla="*/ 5237039 h 5237039"/>
                <a:gd name="connsiteX1" fmla="*/ 2909846 w 5312878"/>
                <a:gd name="connsiteY1" fmla="*/ 5237039 h 5237039"/>
                <a:gd name="connsiteX2" fmla="*/ 2257066 w 5312878"/>
                <a:gd name="connsiteY2" fmla="*/ 5122739 h 5237039"/>
                <a:gd name="connsiteX3" fmla="*/ 1665246 w 5312878"/>
                <a:gd name="connsiteY3" fmla="*/ 4614739 h 5237039"/>
                <a:gd name="connsiteX4" fmla="*/ 1124226 w 5312878"/>
                <a:gd name="connsiteY4" fmla="*/ 3593659 h 5237039"/>
                <a:gd name="connsiteX5" fmla="*/ 16786 w 5312878"/>
                <a:gd name="connsiteY5" fmla="*/ 1970599 h 5237039"/>
                <a:gd name="connsiteX6" fmla="*/ 514626 w 5312878"/>
                <a:gd name="connsiteY6" fmla="*/ 1620079 h 5237039"/>
                <a:gd name="connsiteX7" fmla="*/ 1309646 w 5312878"/>
                <a:gd name="connsiteY7" fmla="*/ 2785939 h 5237039"/>
                <a:gd name="connsiteX8" fmla="*/ 1512846 w 5312878"/>
                <a:gd name="connsiteY8" fmla="*/ 2887539 h 5237039"/>
                <a:gd name="connsiteX9" fmla="*/ 1550946 w 5312878"/>
                <a:gd name="connsiteY9" fmla="*/ 2798639 h 5237039"/>
                <a:gd name="connsiteX10" fmla="*/ 585746 w 5312878"/>
                <a:gd name="connsiteY10" fmla="*/ 995239 h 5237039"/>
                <a:gd name="connsiteX11" fmla="*/ 1258846 w 5312878"/>
                <a:gd name="connsiteY11" fmla="*/ 779339 h 5237039"/>
                <a:gd name="connsiteX12" fmla="*/ 1995446 w 5312878"/>
                <a:gd name="connsiteY12" fmla="*/ 2252539 h 5237039"/>
                <a:gd name="connsiteX13" fmla="*/ 2178326 w 5312878"/>
                <a:gd name="connsiteY13" fmla="*/ 2135699 h 5237039"/>
                <a:gd name="connsiteX14" fmla="*/ 1538246 w 5312878"/>
                <a:gd name="connsiteY14" fmla="*/ 344999 h 5237039"/>
                <a:gd name="connsiteX15" fmla="*/ 2152926 w 5312878"/>
                <a:gd name="connsiteY15" fmla="*/ 149419 h 5237039"/>
                <a:gd name="connsiteX16" fmla="*/ 2838726 w 5312878"/>
                <a:gd name="connsiteY16" fmla="*/ 1929959 h 5237039"/>
                <a:gd name="connsiteX17" fmla="*/ 3039386 w 5312878"/>
                <a:gd name="connsiteY17" fmla="*/ 1896939 h 5237039"/>
                <a:gd name="connsiteX18" fmla="*/ 2859046 w 5312878"/>
                <a:gd name="connsiteY18" fmla="*/ 322139 h 5237039"/>
                <a:gd name="connsiteX19" fmla="*/ 3544846 w 5312878"/>
                <a:gd name="connsiteY19" fmla="*/ 195139 h 5237039"/>
                <a:gd name="connsiteX20" fmla="*/ 3798846 w 5312878"/>
                <a:gd name="connsiteY20" fmla="*/ 2392239 h 5237039"/>
                <a:gd name="connsiteX21" fmla="*/ 4017286 w 5312878"/>
                <a:gd name="connsiteY21" fmla="*/ 2437959 h 5237039"/>
                <a:gd name="connsiteX22" fmla="*/ 4283986 w 5312878"/>
                <a:gd name="connsiteY22" fmla="*/ 1719139 h 5237039"/>
                <a:gd name="connsiteX23" fmla="*/ 4725946 w 5312878"/>
                <a:gd name="connsiteY23" fmla="*/ 1312739 h 5237039"/>
                <a:gd name="connsiteX24" fmla="*/ 5310146 w 5312878"/>
                <a:gd name="connsiteY24" fmla="*/ 1477839 h 5237039"/>
                <a:gd name="connsiteX25" fmla="*/ 4916446 w 5312878"/>
                <a:gd name="connsiteY25" fmla="*/ 1998539 h 5237039"/>
                <a:gd name="connsiteX26" fmla="*/ 4268746 w 5312878"/>
                <a:gd name="connsiteY26" fmla="*/ 4297239 h 5237039"/>
                <a:gd name="connsiteX27" fmla="*/ 3887746 w 5312878"/>
                <a:gd name="connsiteY27" fmla="*/ 4843339 h 5237039"/>
                <a:gd name="connsiteX28" fmla="*/ 3265446 w 5312878"/>
                <a:gd name="connsiteY28" fmla="*/ 5148139 h 5237039"/>
                <a:gd name="connsiteX29" fmla="*/ 2909846 w 5312878"/>
                <a:gd name="connsiteY29" fmla="*/ 5237039 h 5237039"/>
                <a:gd name="connsiteX0" fmla="*/ 2909846 w 5312878"/>
                <a:gd name="connsiteY0" fmla="*/ 5237039 h 5237039"/>
                <a:gd name="connsiteX1" fmla="*/ 2909846 w 5312878"/>
                <a:gd name="connsiteY1" fmla="*/ 5237039 h 5237039"/>
                <a:gd name="connsiteX2" fmla="*/ 2257066 w 5312878"/>
                <a:gd name="connsiteY2" fmla="*/ 5122739 h 5237039"/>
                <a:gd name="connsiteX3" fmla="*/ 1665246 w 5312878"/>
                <a:gd name="connsiteY3" fmla="*/ 4614739 h 5237039"/>
                <a:gd name="connsiteX4" fmla="*/ 1124226 w 5312878"/>
                <a:gd name="connsiteY4" fmla="*/ 3593659 h 5237039"/>
                <a:gd name="connsiteX5" fmla="*/ 16786 w 5312878"/>
                <a:gd name="connsiteY5" fmla="*/ 1970599 h 5237039"/>
                <a:gd name="connsiteX6" fmla="*/ 514626 w 5312878"/>
                <a:gd name="connsiteY6" fmla="*/ 1620079 h 5237039"/>
                <a:gd name="connsiteX7" fmla="*/ 1309646 w 5312878"/>
                <a:gd name="connsiteY7" fmla="*/ 2785939 h 5237039"/>
                <a:gd name="connsiteX8" fmla="*/ 1512846 w 5312878"/>
                <a:gd name="connsiteY8" fmla="*/ 2887539 h 5237039"/>
                <a:gd name="connsiteX9" fmla="*/ 1550946 w 5312878"/>
                <a:gd name="connsiteY9" fmla="*/ 2798639 h 5237039"/>
                <a:gd name="connsiteX10" fmla="*/ 585746 w 5312878"/>
                <a:gd name="connsiteY10" fmla="*/ 995239 h 5237039"/>
                <a:gd name="connsiteX11" fmla="*/ 1258846 w 5312878"/>
                <a:gd name="connsiteY11" fmla="*/ 779339 h 5237039"/>
                <a:gd name="connsiteX12" fmla="*/ 1995446 w 5312878"/>
                <a:gd name="connsiteY12" fmla="*/ 2252539 h 5237039"/>
                <a:gd name="connsiteX13" fmla="*/ 2178326 w 5312878"/>
                <a:gd name="connsiteY13" fmla="*/ 2135699 h 5237039"/>
                <a:gd name="connsiteX14" fmla="*/ 1538246 w 5312878"/>
                <a:gd name="connsiteY14" fmla="*/ 344999 h 5237039"/>
                <a:gd name="connsiteX15" fmla="*/ 2152926 w 5312878"/>
                <a:gd name="connsiteY15" fmla="*/ 149419 h 5237039"/>
                <a:gd name="connsiteX16" fmla="*/ 2838726 w 5312878"/>
                <a:gd name="connsiteY16" fmla="*/ 1929959 h 5237039"/>
                <a:gd name="connsiteX17" fmla="*/ 3039386 w 5312878"/>
                <a:gd name="connsiteY17" fmla="*/ 1896939 h 5237039"/>
                <a:gd name="connsiteX18" fmla="*/ 2859046 w 5312878"/>
                <a:gd name="connsiteY18" fmla="*/ 322139 h 5237039"/>
                <a:gd name="connsiteX19" fmla="*/ 3544846 w 5312878"/>
                <a:gd name="connsiteY19" fmla="*/ 195139 h 5237039"/>
                <a:gd name="connsiteX20" fmla="*/ 3798846 w 5312878"/>
                <a:gd name="connsiteY20" fmla="*/ 2392239 h 5237039"/>
                <a:gd name="connsiteX21" fmla="*/ 4017286 w 5312878"/>
                <a:gd name="connsiteY21" fmla="*/ 2437959 h 5237039"/>
                <a:gd name="connsiteX22" fmla="*/ 4283986 w 5312878"/>
                <a:gd name="connsiteY22" fmla="*/ 1719139 h 5237039"/>
                <a:gd name="connsiteX23" fmla="*/ 4725946 w 5312878"/>
                <a:gd name="connsiteY23" fmla="*/ 1312739 h 5237039"/>
                <a:gd name="connsiteX24" fmla="*/ 5310146 w 5312878"/>
                <a:gd name="connsiteY24" fmla="*/ 1477839 h 5237039"/>
                <a:gd name="connsiteX25" fmla="*/ 4916446 w 5312878"/>
                <a:gd name="connsiteY25" fmla="*/ 1998539 h 5237039"/>
                <a:gd name="connsiteX26" fmla="*/ 4268746 w 5312878"/>
                <a:gd name="connsiteY26" fmla="*/ 4297239 h 5237039"/>
                <a:gd name="connsiteX27" fmla="*/ 3887746 w 5312878"/>
                <a:gd name="connsiteY27" fmla="*/ 4843339 h 5237039"/>
                <a:gd name="connsiteX28" fmla="*/ 3265446 w 5312878"/>
                <a:gd name="connsiteY28" fmla="*/ 5148139 h 5237039"/>
                <a:gd name="connsiteX29" fmla="*/ 2909846 w 5312878"/>
                <a:gd name="connsiteY29" fmla="*/ 5237039 h 5237039"/>
                <a:gd name="connsiteX0" fmla="*/ 3265446 w 5312878"/>
                <a:gd name="connsiteY0" fmla="*/ 5148139 h 5237460"/>
                <a:gd name="connsiteX1" fmla="*/ 2909846 w 5312878"/>
                <a:gd name="connsiteY1" fmla="*/ 5237039 h 5237460"/>
                <a:gd name="connsiteX2" fmla="*/ 2257066 w 5312878"/>
                <a:gd name="connsiteY2" fmla="*/ 5122739 h 5237460"/>
                <a:gd name="connsiteX3" fmla="*/ 1665246 w 5312878"/>
                <a:gd name="connsiteY3" fmla="*/ 4614739 h 5237460"/>
                <a:gd name="connsiteX4" fmla="*/ 1124226 w 5312878"/>
                <a:gd name="connsiteY4" fmla="*/ 3593659 h 5237460"/>
                <a:gd name="connsiteX5" fmla="*/ 16786 w 5312878"/>
                <a:gd name="connsiteY5" fmla="*/ 1970599 h 5237460"/>
                <a:gd name="connsiteX6" fmla="*/ 514626 w 5312878"/>
                <a:gd name="connsiteY6" fmla="*/ 1620079 h 5237460"/>
                <a:gd name="connsiteX7" fmla="*/ 1309646 w 5312878"/>
                <a:gd name="connsiteY7" fmla="*/ 2785939 h 5237460"/>
                <a:gd name="connsiteX8" fmla="*/ 1512846 w 5312878"/>
                <a:gd name="connsiteY8" fmla="*/ 2887539 h 5237460"/>
                <a:gd name="connsiteX9" fmla="*/ 1550946 w 5312878"/>
                <a:gd name="connsiteY9" fmla="*/ 2798639 h 5237460"/>
                <a:gd name="connsiteX10" fmla="*/ 585746 w 5312878"/>
                <a:gd name="connsiteY10" fmla="*/ 995239 h 5237460"/>
                <a:gd name="connsiteX11" fmla="*/ 1258846 w 5312878"/>
                <a:gd name="connsiteY11" fmla="*/ 779339 h 5237460"/>
                <a:gd name="connsiteX12" fmla="*/ 1995446 w 5312878"/>
                <a:gd name="connsiteY12" fmla="*/ 2252539 h 5237460"/>
                <a:gd name="connsiteX13" fmla="*/ 2178326 w 5312878"/>
                <a:gd name="connsiteY13" fmla="*/ 2135699 h 5237460"/>
                <a:gd name="connsiteX14" fmla="*/ 1538246 w 5312878"/>
                <a:gd name="connsiteY14" fmla="*/ 344999 h 5237460"/>
                <a:gd name="connsiteX15" fmla="*/ 2152926 w 5312878"/>
                <a:gd name="connsiteY15" fmla="*/ 149419 h 5237460"/>
                <a:gd name="connsiteX16" fmla="*/ 2838726 w 5312878"/>
                <a:gd name="connsiteY16" fmla="*/ 1929959 h 5237460"/>
                <a:gd name="connsiteX17" fmla="*/ 3039386 w 5312878"/>
                <a:gd name="connsiteY17" fmla="*/ 1896939 h 5237460"/>
                <a:gd name="connsiteX18" fmla="*/ 2859046 w 5312878"/>
                <a:gd name="connsiteY18" fmla="*/ 322139 h 5237460"/>
                <a:gd name="connsiteX19" fmla="*/ 3544846 w 5312878"/>
                <a:gd name="connsiteY19" fmla="*/ 195139 h 5237460"/>
                <a:gd name="connsiteX20" fmla="*/ 3798846 w 5312878"/>
                <a:gd name="connsiteY20" fmla="*/ 2392239 h 5237460"/>
                <a:gd name="connsiteX21" fmla="*/ 4017286 w 5312878"/>
                <a:gd name="connsiteY21" fmla="*/ 2437959 h 5237460"/>
                <a:gd name="connsiteX22" fmla="*/ 4283986 w 5312878"/>
                <a:gd name="connsiteY22" fmla="*/ 1719139 h 5237460"/>
                <a:gd name="connsiteX23" fmla="*/ 4725946 w 5312878"/>
                <a:gd name="connsiteY23" fmla="*/ 1312739 h 5237460"/>
                <a:gd name="connsiteX24" fmla="*/ 5310146 w 5312878"/>
                <a:gd name="connsiteY24" fmla="*/ 1477839 h 5237460"/>
                <a:gd name="connsiteX25" fmla="*/ 4916446 w 5312878"/>
                <a:gd name="connsiteY25" fmla="*/ 1998539 h 5237460"/>
                <a:gd name="connsiteX26" fmla="*/ 4268746 w 5312878"/>
                <a:gd name="connsiteY26" fmla="*/ 4297239 h 5237460"/>
                <a:gd name="connsiteX27" fmla="*/ 3887746 w 5312878"/>
                <a:gd name="connsiteY27" fmla="*/ 4843339 h 5237460"/>
                <a:gd name="connsiteX28" fmla="*/ 3265446 w 5312878"/>
                <a:gd name="connsiteY28" fmla="*/ 5148139 h 5237460"/>
                <a:gd name="connsiteX0" fmla="*/ 3887746 w 5312878"/>
                <a:gd name="connsiteY0" fmla="*/ 4843339 h 5253435"/>
                <a:gd name="connsiteX1" fmla="*/ 2909846 w 5312878"/>
                <a:gd name="connsiteY1" fmla="*/ 5237039 h 5253435"/>
                <a:gd name="connsiteX2" fmla="*/ 2257066 w 5312878"/>
                <a:gd name="connsiteY2" fmla="*/ 5122739 h 5253435"/>
                <a:gd name="connsiteX3" fmla="*/ 1665246 w 5312878"/>
                <a:gd name="connsiteY3" fmla="*/ 4614739 h 5253435"/>
                <a:gd name="connsiteX4" fmla="*/ 1124226 w 5312878"/>
                <a:gd name="connsiteY4" fmla="*/ 3593659 h 5253435"/>
                <a:gd name="connsiteX5" fmla="*/ 16786 w 5312878"/>
                <a:gd name="connsiteY5" fmla="*/ 1970599 h 5253435"/>
                <a:gd name="connsiteX6" fmla="*/ 514626 w 5312878"/>
                <a:gd name="connsiteY6" fmla="*/ 1620079 h 5253435"/>
                <a:gd name="connsiteX7" fmla="*/ 1309646 w 5312878"/>
                <a:gd name="connsiteY7" fmla="*/ 2785939 h 5253435"/>
                <a:gd name="connsiteX8" fmla="*/ 1512846 w 5312878"/>
                <a:gd name="connsiteY8" fmla="*/ 2887539 h 5253435"/>
                <a:gd name="connsiteX9" fmla="*/ 1550946 w 5312878"/>
                <a:gd name="connsiteY9" fmla="*/ 2798639 h 5253435"/>
                <a:gd name="connsiteX10" fmla="*/ 585746 w 5312878"/>
                <a:gd name="connsiteY10" fmla="*/ 995239 h 5253435"/>
                <a:gd name="connsiteX11" fmla="*/ 1258846 w 5312878"/>
                <a:gd name="connsiteY11" fmla="*/ 779339 h 5253435"/>
                <a:gd name="connsiteX12" fmla="*/ 1995446 w 5312878"/>
                <a:gd name="connsiteY12" fmla="*/ 2252539 h 5253435"/>
                <a:gd name="connsiteX13" fmla="*/ 2178326 w 5312878"/>
                <a:gd name="connsiteY13" fmla="*/ 2135699 h 5253435"/>
                <a:gd name="connsiteX14" fmla="*/ 1538246 w 5312878"/>
                <a:gd name="connsiteY14" fmla="*/ 344999 h 5253435"/>
                <a:gd name="connsiteX15" fmla="*/ 2152926 w 5312878"/>
                <a:gd name="connsiteY15" fmla="*/ 149419 h 5253435"/>
                <a:gd name="connsiteX16" fmla="*/ 2838726 w 5312878"/>
                <a:gd name="connsiteY16" fmla="*/ 1929959 h 5253435"/>
                <a:gd name="connsiteX17" fmla="*/ 3039386 w 5312878"/>
                <a:gd name="connsiteY17" fmla="*/ 1896939 h 5253435"/>
                <a:gd name="connsiteX18" fmla="*/ 2859046 w 5312878"/>
                <a:gd name="connsiteY18" fmla="*/ 322139 h 5253435"/>
                <a:gd name="connsiteX19" fmla="*/ 3544846 w 5312878"/>
                <a:gd name="connsiteY19" fmla="*/ 195139 h 5253435"/>
                <a:gd name="connsiteX20" fmla="*/ 3798846 w 5312878"/>
                <a:gd name="connsiteY20" fmla="*/ 2392239 h 5253435"/>
                <a:gd name="connsiteX21" fmla="*/ 4017286 w 5312878"/>
                <a:gd name="connsiteY21" fmla="*/ 2437959 h 5253435"/>
                <a:gd name="connsiteX22" fmla="*/ 4283986 w 5312878"/>
                <a:gd name="connsiteY22" fmla="*/ 1719139 h 5253435"/>
                <a:gd name="connsiteX23" fmla="*/ 4725946 w 5312878"/>
                <a:gd name="connsiteY23" fmla="*/ 1312739 h 5253435"/>
                <a:gd name="connsiteX24" fmla="*/ 5310146 w 5312878"/>
                <a:gd name="connsiteY24" fmla="*/ 1477839 h 5253435"/>
                <a:gd name="connsiteX25" fmla="*/ 4916446 w 5312878"/>
                <a:gd name="connsiteY25" fmla="*/ 1998539 h 5253435"/>
                <a:gd name="connsiteX26" fmla="*/ 4268746 w 5312878"/>
                <a:gd name="connsiteY26" fmla="*/ 4297239 h 5253435"/>
                <a:gd name="connsiteX27" fmla="*/ 3887746 w 5312878"/>
                <a:gd name="connsiteY27" fmla="*/ 4843339 h 5253435"/>
                <a:gd name="connsiteX0" fmla="*/ 3887746 w 5312878"/>
                <a:gd name="connsiteY0" fmla="*/ 4843339 h 5199107"/>
                <a:gd name="connsiteX1" fmla="*/ 3153686 w 5312878"/>
                <a:gd name="connsiteY1" fmla="*/ 5168459 h 5199107"/>
                <a:gd name="connsiteX2" fmla="*/ 2257066 w 5312878"/>
                <a:gd name="connsiteY2" fmla="*/ 5122739 h 5199107"/>
                <a:gd name="connsiteX3" fmla="*/ 1665246 w 5312878"/>
                <a:gd name="connsiteY3" fmla="*/ 4614739 h 5199107"/>
                <a:gd name="connsiteX4" fmla="*/ 1124226 w 5312878"/>
                <a:gd name="connsiteY4" fmla="*/ 3593659 h 5199107"/>
                <a:gd name="connsiteX5" fmla="*/ 16786 w 5312878"/>
                <a:gd name="connsiteY5" fmla="*/ 1970599 h 5199107"/>
                <a:gd name="connsiteX6" fmla="*/ 514626 w 5312878"/>
                <a:gd name="connsiteY6" fmla="*/ 1620079 h 5199107"/>
                <a:gd name="connsiteX7" fmla="*/ 1309646 w 5312878"/>
                <a:gd name="connsiteY7" fmla="*/ 2785939 h 5199107"/>
                <a:gd name="connsiteX8" fmla="*/ 1512846 w 5312878"/>
                <a:gd name="connsiteY8" fmla="*/ 2887539 h 5199107"/>
                <a:gd name="connsiteX9" fmla="*/ 1550946 w 5312878"/>
                <a:gd name="connsiteY9" fmla="*/ 2798639 h 5199107"/>
                <a:gd name="connsiteX10" fmla="*/ 585746 w 5312878"/>
                <a:gd name="connsiteY10" fmla="*/ 995239 h 5199107"/>
                <a:gd name="connsiteX11" fmla="*/ 1258846 w 5312878"/>
                <a:gd name="connsiteY11" fmla="*/ 779339 h 5199107"/>
                <a:gd name="connsiteX12" fmla="*/ 1995446 w 5312878"/>
                <a:gd name="connsiteY12" fmla="*/ 2252539 h 5199107"/>
                <a:gd name="connsiteX13" fmla="*/ 2178326 w 5312878"/>
                <a:gd name="connsiteY13" fmla="*/ 2135699 h 5199107"/>
                <a:gd name="connsiteX14" fmla="*/ 1538246 w 5312878"/>
                <a:gd name="connsiteY14" fmla="*/ 344999 h 5199107"/>
                <a:gd name="connsiteX15" fmla="*/ 2152926 w 5312878"/>
                <a:gd name="connsiteY15" fmla="*/ 149419 h 5199107"/>
                <a:gd name="connsiteX16" fmla="*/ 2838726 w 5312878"/>
                <a:gd name="connsiteY16" fmla="*/ 1929959 h 5199107"/>
                <a:gd name="connsiteX17" fmla="*/ 3039386 w 5312878"/>
                <a:gd name="connsiteY17" fmla="*/ 1896939 h 5199107"/>
                <a:gd name="connsiteX18" fmla="*/ 2859046 w 5312878"/>
                <a:gd name="connsiteY18" fmla="*/ 322139 h 5199107"/>
                <a:gd name="connsiteX19" fmla="*/ 3544846 w 5312878"/>
                <a:gd name="connsiteY19" fmla="*/ 195139 h 5199107"/>
                <a:gd name="connsiteX20" fmla="*/ 3798846 w 5312878"/>
                <a:gd name="connsiteY20" fmla="*/ 2392239 h 5199107"/>
                <a:gd name="connsiteX21" fmla="*/ 4017286 w 5312878"/>
                <a:gd name="connsiteY21" fmla="*/ 2437959 h 5199107"/>
                <a:gd name="connsiteX22" fmla="*/ 4283986 w 5312878"/>
                <a:gd name="connsiteY22" fmla="*/ 1719139 h 5199107"/>
                <a:gd name="connsiteX23" fmla="*/ 4725946 w 5312878"/>
                <a:gd name="connsiteY23" fmla="*/ 1312739 h 5199107"/>
                <a:gd name="connsiteX24" fmla="*/ 5310146 w 5312878"/>
                <a:gd name="connsiteY24" fmla="*/ 1477839 h 5199107"/>
                <a:gd name="connsiteX25" fmla="*/ 4916446 w 5312878"/>
                <a:gd name="connsiteY25" fmla="*/ 1998539 h 5199107"/>
                <a:gd name="connsiteX26" fmla="*/ 4268746 w 5312878"/>
                <a:gd name="connsiteY26" fmla="*/ 4297239 h 5199107"/>
                <a:gd name="connsiteX27" fmla="*/ 3887746 w 5312878"/>
                <a:gd name="connsiteY27" fmla="*/ 4843339 h 5199107"/>
                <a:gd name="connsiteX0" fmla="*/ 3887746 w 5312878"/>
                <a:gd name="connsiteY0" fmla="*/ 4843339 h 5199107"/>
                <a:gd name="connsiteX1" fmla="*/ 3153686 w 5312878"/>
                <a:gd name="connsiteY1" fmla="*/ 5168459 h 5199107"/>
                <a:gd name="connsiteX2" fmla="*/ 2257066 w 5312878"/>
                <a:gd name="connsiteY2" fmla="*/ 5122739 h 5199107"/>
                <a:gd name="connsiteX3" fmla="*/ 1665246 w 5312878"/>
                <a:gd name="connsiteY3" fmla="*/ 4614739 h 5199107"/>
                <a:gd name="connsiteX4" fmla="*/ 1124226 w 5312878"/>
                <a:gd name="connsiteY4" fmla="*/ 3593659 h 5199107"/>
                <a:gd name="connsiteX5" fmla="*/ 16786 w 5312878"/>
                <a:gd name="connsiteY5" fmla="*/ 1970599 h 5199107"/>
                <a:gd name="connsiteX6" fmla="*/ 514626 w 5312878"/>
                <a:gd name="connsiteY6" fmla="*/ 1620079 h 5199107"/>
                <a:gd name="connsiteX7" fmla="*/ 1309646 w 5312878"/>
                <a:gd name="connsiteY7" fmla="*/ 2785939 h 5199107"/>
                <a:gd name="connsiteX8" fmla="*/ 1512846 w 5312878"/>
                <a:gd name="connsiteY8" fmla="*/ 2887539 h 5199107"/>
                <a:gd name="connsiteX9" fmla="*/ 1505226 w 5312878"/>
                <a:gd name="connsiteY9" fmla="*/ 2722439 h 5199107"/>
                <a:gd name="connsiteX10" fmla="*/ 585746 w 5312878"/>
                <a:gd name="connsiteY10" fmla="*/ 995239 h 5199107"/>
                <a:gd name="connsiteX11" fmla="*/ 1258846 w 5312878"/>
                <a:gd name="connsiteY11" fmla="*/ 779339 h 5199107"/>
                <a:gd name="connsiteX12" fmla="*/ 1995446 w 5312878"/>
                <a:gd name="connsiteY12" fmla="*/ 2252539 h 5199107"/>
                <a:gd name="connsiteX13" fmla="*/ 2178326 w 5312878"/>
                <a:gd name="connsiteY13" fmla="*/ 2135699 h 5199107"/>
                <a:gd name="connsiteX14" fmla="*/ 1538246 w 5312878"/>
                <a:gd name="connsiteY14" fmla="*/ 344999 h 5199107"/>
                <a:gd name="connsiteX15" fmla="*/ 2152926 w 5312878"/>
                <a:gd name="connsiteY15" fmla="*/ 149419 h 5199107"/>
                <a:gd name="connsiteX16" fmla="*/ 2838726 w 5312878"/>
                <a:gd name="connsiteY16" fmla="*/ 1929959 h 5199107"/>
                <a:gd name="connsiteX17" fmla="*/ 3039386 w 5312878"/>
                <a:gd name="connsiteY17" fmla="*/ 1896939 h 5199107"/>
                <a:gd name="connsiteX18" fmla="*/ 2859046 w 5312878"/>
                <a:gd name="connsiteY18" fmla="*/ 322139 h 5199107"/>
                <a:gd name="connsiteX19" fmla="*/ 3544846 w 5312878"/>
                <a:gd name="connsiteY19" fmla="*/ 195139 h 5199107"/>
                <a:gd name="connsiteX20" fmla="*/ 3798846 w 5312878"/>
                <a:gd name="connsiteY20" fmla="*/ 2392239 h 5199107"/>
                <a:gd name="connsiteX21" fmla="*/ 4017286 w 5312878"/>
                <a:gd name="connsiteY21" fmla="*/ 2437959 h 5199107"/>
                <a:gd name="connsiteX22" fmla="*/ 4283986 w 5312878"/>
                <a:gd name="connsiteY22" fmla="*/ 1719139 h 5199107"/>
                <a:gd name="connsiteX23" fmla="*/ 4725946 w 5312878"/>
                <a:gd name="connsiteY23" fmla="*/ 1312739 h 5199107"/>
                <a:gd name="connsiteX24" fmla="*/ 5310146 w 5312878"/>
                <a:gd name="connsiteY24" fmla="*/ 1477839 h 5199107"/>
                <a:gd name="connsiteX25" fmla="*/ 4916446 w 5312878"/>
                <a:gd name="connsiteY25" fmla="*/ 1998539 h 5199107"/>
                <a:gd name="connsiteX26" fmla="*/ 4268746 w 5312878"/>
                <a:gd name="connsiteY26" fmla="*/ 4297239 h 5199107"/>
                <a:gd name="connsiteX27" fmla="*/ 3887746 w 5312878"/>
                <a:gd name="connsiteY27" fmla="*/ 4843339 h 5199107"/>
                <a:gd name="connsiteX0" fmla="*/ 3887746 w 5312878"/>
                <a:gd name="connsiteY0" fmla="*/ 4843339 h 5199107"/>
                <a:gd name="connsiteX1" fmla="*/ 3153686 w 5312878"/>
                <a:gd name="connsiteY1" fmla="*/ 5168459 h 5199107"/>
                <a:gd name="connsiteX2" fmla="*/ 2257066 w 5312878"/>
                <a:gd name="connsiteY2" fmla="*/ 5122739 h 5199107"/>
                <a:gd name="connsiteX3" fmla="*/ 1665246 w 5312878"/>
                <a:gd name="connsiteY3" fmla="*/ 4614739 h 5199107"/>
                <a:gd name="connsiteX4" fmla="*/ 1124226 w 5312878"/>
                <a:gd name="connsiteY4" fmla="*/ 3593659 h 5199107"/>
                <a:gd name="connsiteX5" fmla="*/ 16786 w 5312878"/>
                <a:gd name="connsiteY5" fmla="*/ 1970599 h 5199107"/>
                <a:gd name="connsiteX6" fmla="*/ 514626 w 5312878"/>
                <a:gd name="connsiteY6" fmla="*/ 1620079 h 5199107"/>
                <a:gd name="connsiteX7" fmla="*/ 1309646 w 5312878"/>
                <a:gd name="connsiteY7" fmla="*/ 2785939 h 5199107"/>
                <a:gd name="connsiteX8" fmla="*/ 1505226 w 5312878"/>
                <a:gd name="connsiteY8" fmla="*/ 2722439 h 5199107"/>
                <a:gd name="connsiteX9" fmla="*/ 585746 w 5312878"/>
                <a:gd name="connsiteY9" fmla="*/ 995239 h 5199107"/>
                <a:gd name="connsiteX10" fmla="*/ 1258846 w 5312878"/>
                <a:gd name="connsiteY10" fmla="*/ 779339 h 5199107"/>
                <a:gd name="connsiteX11" fmla="*/ 1995446 w 5312878"/>
                <a:gd name="connsiteY11" fmla="*/ 2252539 h 5199107"/>
                <a:gd name="connsiteX12" fmla="*/ 2178326 w 5312878"/>
                <a:gd name="connsiteY12" fmla="*/ 2135699 h 5199107"/>
                <a:gd name="connsiteX13" fmla="*/ 1538246 w 5312878"/>
                <a:gd name="connsiteY13" fmla="*/ 344999 h 5199107"/>
                <a:gd name="connsiteX14" fmla="*/ 2152926 w 5312878"/>
                <a:gd name="connsiteY14" fmla="*/ 149419 h 5199107"/>
                <a:gd name="connsiteX15" fmla="*/ 2838726 w 5312878"/>
                <a:gd name="connsiteY15" fmla="*/ 1929959 h 5199107"/>
                <a:gd name="connsiteX16" fmla="*/ 3039386 w 5312878"/>
                <a:gd name="connsiteY16" fmla="*/ 1896939 h 5199107"/>
                <a:gd name="connsiteX17" fmla="*/ 2859046 w 5312878"/>
                <a:gd name="connsiteY17" fmla="*/ 322139 h 5199107"/>
                <a:gd name="connsiteX18" fmla="*/ 3544846 w 5312878"/>
                <a:gd name="connsiteY18" fmla="*/ 195139 h 5199107"/>
                <a:gd name="connsiteX19" fmla="*/ 3798846 w 5312878"/>
                <a:gd name="connsiteY19" fmla="*/ 2392239 h 5199107"/>
                <a:gd name="connsiteX20" fmla="*/ 4017286 w 5312878"/>
                <a:gd name="connsiteY20" fmla="*/ 2437959 h 5199107"/>
                <a:gd name="connsiteX21" fmla="*/ 4283986 w 5312878"/>
                <a:gd name="connsiteY21" fmla="*/ 1719139 h 5199107"/>
                <a:gd name="connsiteX22" fmla="*/ 4725946 w 5312878"/>
                <a:gd name="connsiteY22" fmla="*/ 1312739 h 5199107"/>
                <a:gd name="connsiteX23" fmla="*/ 5310146 w 5312878"/>
                <a:gd name="connsiteY23" fmla="*/ 1477839 h 5199107"/>
                <a:gd name="connsiteX24" fmla="*/ 4916446 w 5312878"/>
                <a:gd name="connsiteY24" fmla="*/ 1998539 h 5199107"/>
                <a:gd name="connsiteX25" fmla="*/ 4268746 w 5312878"/>
                <a:gd name="connsiteY25" fmla="*/ 4297239 h 5199107"/>
                <a:gd name="connsiteX26" fmla="*/ 3887746 w 5312878"/>
                <a:gd name="connsiteY26" fmla="*/ 4843339 h 5199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312878" h="5199107">
                  <a:moveTo>
                    <a:pt x="3887746" y="4843339"/>
                  </a:moveTo>
                  <a:cubicBezTo>
                    <a:pt x="3701903" y="4988542"/>
                    <a:pt x="3425466" y="5121892"/>
                    <a:pt x="3153686" y="5168459"/>
                  </a:cubicBezTo>
                  <a:cubicBezTo>
                    <a:pt x="2881906" y="5215026"/>
                    <a:pt x="2505139" y="5215026"/>
                    <a:pt x="2257066" y="5122739"/>
                  </a:cubicBezTo>
                  <a:cubicBezTo>
                    <a:pt x="2008993" y="5030452"/>
                    <a:pt x="1854053" y="4869586"/>
                    <a:pt x="1665246" y="4614739"/>
                  </a:cubicBezTo>
                  <a:cubicBezTo>
                    <a:pt x="1476439" y="4359892"/>
                    <a:pt x="1398969" y="4034349"/>
                    <a:pt x="1124226" y="3593659"/>
                  </a:cubicBezTo>
                  <a:cubicBezTo>
                    <a:pt x="849483" y="3152969"/>
                    <a:pt x="118386" y="2299529"/>
                    <a:pt x="16786" y="1970599"/>
                  </a:cubicBezTo>
                  <a:cubicBezTo>
                    <a:pt x="-84814" y="1641669"/>
                    <a:pt x="299149" y="1484189"/>
                    <a:pt x="514626" y="1620079"/>
                  </a:cubicBezTo>
                  <a:cubicBezTo>
                    <a:pt x="730103" y="1755969"/>
                    <a:pt x="1144546" y="2602212"/>
                    <a:pt x="1309646" y="2785939"/>
                  </a:cubicBezTo>
                  <a:cubicBezTo>
                    <a:pt x="1474746" y="2969666"/>
                    <a:pt x="1625876" y="3020889"/>
                    <a:pt x="1505226" y="2722439"/>
                  </a:cubicBezTo>
                  <a:cubicBezTo>
                    <a:pt x="1384576" y="2423989"/>
                    <a:pt x="626809" y="1319089"/>
                    <a:pt x="585746" y="995239"/>
                  </a:cubicBezTo>
                  <a:cubicBezTo>
                    <a:pt x="544683" y="671389"/>
                    <a:pt x="932456" y="310709"/>
                    <a:pt x="1258846" y="779339"/>
                  </a:cubicBezTo>
                  <a:cubicBezTo>
                    <a:pt x="1504379" y="1270406"/>
                    <a:pt x="1842199" y="2026479"/>
                    <a:pt x="1995446" y="2252539"/>
                  </a:cubicBezTo>
                  <a:cubicBezTo>
                    <a:pt x="2148693" y="2478599"/>
                    <a:pt x="2254526" y="2453622"/>
                    <a:pt x="2178326" y="2135699"/>
                  </a:cubicBezTo>
                  <a:cubicBezTo>
                    <a:pt x="2102126" y="1817776"/>
                    <a:pt x="1542479" y="676046"/>
                    <a:pt x="1538246" y="344999"/>
                  </a:cubicBezTo>
                  <a:cubicBezTo>
                    <a:pt x="1534013" y="13952"/>
                    <a:pt x="1936179" y="-114741"/>
                    <a:pt x="2152926" y="149419"/>
                  </a:cubicBezTo>
                  <a:cubicBezTo>
                    <a:pt x="2369673" y="413579"/>
                    <a:pt x="2690983" y="1638706"/>
                    <a:pt x="2838726" y="1929959"/>
                  </a:cubicBezTo>
                  <a:cubicBezTo>
                    <a:pt x="2986469" y="2221212"/>
                    <a:pt x="3089339" y="2195389"/>
                    <a:pt x="3039386" y="1896939"/>
                  </a:cubicBezTo>
                  <a:cubicBezTo>
                    <a:pt x="2989433" y="1598489"/>
                    <a:pt x="2897146" y="699752"/>
                    <a:pt x="2859046" y="322139"/>
                  </a:cubicBezTo>
                  <a:cubicBezTo>
                    <a:pt x="2820946" y="-55474"/>
                    <a:pt x="3491506" y="-105428"/>
                    <a:pt x="3544846" y="195139"/>
                  </a:cubicBezTo>
                  <a:cubicBezTo>
                    <a:pt x="3598186" y="495706"/>
                    <a:pt x="3720106" y="2018436"/>
                    <a:pt x="3798846" y="2392239"/>
                  </a:cubicBezTo>
                  <a:cubicBezTo>
                    <a:pt x="3877586" y="2766042"/>
                    <a:pt x="3982149" y="2595862"/>
                    <a:pt x="4017286" y="2437959"/>
                  </a:cubicBezTo>
                  <a:cubicBezTo>
                    <a:pt x="4052423" y="2280056"/>
                    <a:pt x="4182386" y="1986686"/>
                    <a:pt x="4283986" y="1719139"/>
                  </a:cubicBezTo>
                  <a:cubicBezTo>
                    <a:pt x="4385586" y="1451592"/>
                    <a:pt x="4554919" y="1352956"/>
                    <a:pt x="4725946" y="1312739"/>
                  </a:cubicBezTo>
                  <a:cubicBezTo>
                    <a:pt x="4896973" y="1272522"/>
                    <a:pt x="5278396" y="1363539"/>
                    <a:pt x="5310146" y="1477839"/>
                  </a:cubicBezTo>
                  <a:cubicBezTo>
                    <a:pt x="5341896" y="1592139"/>
                    <a:pt x="5090013" y="1528639"/>
                    <a:pt x="4916446" y="1998539"/>
                  </a:cubicBezTo>
                  <a:cubicBezTo>
                    <a:pt x="4742879" y="2468439"/>
                    <a:pt x="4388126" y="4031386"/>
                    <a:pt x="4268746" y="4297239"/>
                  </a:cubicBezTo>
                  <a:cubicBezTo>
                    <a:pt x="4149366" y="4563092"/>
                    <a:pt x="4073589" y="4698136"/>
                    <a:pt x="3887746" y="4843339"/>
                  </a:cubicBezTo>
                  <a:close/>
                </a:path>
              </a:pathLst>
            </a:custGeom>
            <a:solidFill>
              <a:srgbClr val="505050"/>
            </a:solidFill>
            <a:ln w="127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rgbClr val="FFFFFF"/>
                </a:solidFill>
              </a:endParaRPr>
            </a:p>
          </p:txBody>
        </p:sp>
      </p:grpSp>
      <p:sp>
        <p:nvSpPr>
          <p:cNvPr id="26" name="Title 1"/>
          <p:cNvSpPr txBox="1">
            <a:spLocks/>
          </p:cNvSpPr>
          <p:nvPr/>
        </p:nvSpPr>
        <p:spPr>
          <a:xfrm>
            <a:off x="765829" y="3944042"/>
            <a:ext cx="3584433" cy="1315231"/>
          </a:xfrm>
          <a:prstGeom prst="rect">
            <a:avLst/>
          </a:prstGeom>
        </p:spPr>
        <p:txBody>
          <a:bodyPr vert="horz" wrap="square" lIns="0" tIns="0" rIns="0" bIns="0" rtlCol="0" anchor="t">
            <a:spAutoFit/>
          </a:bodyPr>
          <a:lstStyle>
            <a:lvl1pPr algn="l" defTabSz="914277" rtl="0" eaLnBrk="1" latinLnBrk="0" hangingPunct="1">
              <a:lnSpc>
                <a:spcPct val="90000"/>
              </a:lnSpc>
              <a:spcBef>
                <a:spcPct val="0"/>
              </a:spcBef>
              <a:buNone/>
              <a:defRPr lang="en-US" sz="5400" b="0" kern="1200" cap="none" spc="-100" baseline="0" dirty="0">
                <a:ln w="3175">
                  <a:noFill/>
                </a:ln>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effectLst/>
                <a:latin typeface="Segoe UI Light" pitchFamily="34" charset="0"/>
                <a:ea typeface="+mn-ea"/>
                <a:cs typeface="+mn-cs"/>
              </a:defRPr>
            </a:lvl1pPr>
          </a:lstStyle>
          <a:p>
            <a:pPr>
              <a:spcAft>
                <a:spcPts val="900"/>
              </a:spcAft>
            </a:pPr>
            <a:r>
              <a:rPr sz="3200">
                <a:solidFill>
                  <a:srgbClr val="FFFFFF"/>
                </a:solidFill>
                <a:latin typeface="Segoe UI"/>
              </a:rPr>
              <a:t>Easily breached, stolen, or phished</a:t>
            </a:r>
          </a:p>
          <a:p>
            <a:pPr>
              <a:spcBef>
                <a:spcPts val="450"/>
              </a:spcBef>
            </a:pPr>
            <a:endParaRPr sz="1800">
              <a:solidFill>
                <a:prstClr val="white"/>
              </a:solidFill>
              <a:latin typeface="Segoe UI" panose="020B0502040204020203" pitchFamily="34" charset="0"/>
              <a:cs typeface="Segoe UI" panose="020B0502040204020203" pitchFamily="34" charset="0"/>
            </a:endParaRPr>
          </a:p>
        </p:txBody>
      </p:sp>
      <p:sp>
        <p:nvSpPr>
          <p:cNvPr id="23" name="Rectangle 22"/>
          <p:cNvSpPr/>
          <p:nvPr/>
        </p:nvSpPr>
        <p:spPr bwMode="auto">
          <a:xfrm>
            <a:off x="0" y="6460942"/>
            <a:ext cx="12435840" cy="533583"/>
          </a:xfrm>
          <a:prstGeom prst="rect">
            <a:avLst/>
          </a:prstGeom>
          <a:solidFill>
            <a:srgbClr val="505050"/>
          </a:solidFill>
          <a:ln>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2" rIns="137141" bIns="109712" numCol="1" spcCol="0" rtlCol="0" fromWordArt="0" anchor="t" anchorCtr="0" forceAA="0" compatLnSpc="1">
            <a:prstTxWarp prst="textNoShape">
              <a:avLst/>
            </a:prstTxWarp>
            <a:noAutofit/>
          </a:bodyPr>
          <a:lstStyle/>
          <a:p>
            <a:pPr algn="ctr" defTabSz="699291" fontAlgn="base">
              <a:lnSpc>
                <a:spcPct val="90000"/>
              </a:lnSpc>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27" name="Rectangle 26"/>
          <p:cNvSpPr/>
          <p:nvPr/>
        </p:nvSpPr>
        <p:spPr bwMode="auto">
          <a:xfrm>
            <a:off x="635" y="0"/>
            <a:ext cx="12435840" cy="533583"/>
          </a:xfrm>
          <a:prstGeom prst="rect">
            <a:avLst/>
          </a:prstGeom>
          <a:solidFill>
            <a:srgbClr val="505050"/>
          </a:solidFill>
          <a:ln>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2" rIns="137141" bIns="109712" numCol="1" spcCol="0" rtlCol="0" fromWordArt="0" anchor="t" anchorCtr="0" forceAA="0" compatLnSpc="1">
            <a:prstTxWarp prst="textNoShape">
              <a:avLst/>
            </a:prstTxWarp>
            <a:noAutofit/>
          </a:bodyPr>
          <a:lstStyle/>
          <a:p>
            <a:pPr algn="ctr" defTabSz="699291" fontAlgn="base">
              <a:lnSpc>
                <a:spcPct val="90000"/>
              </a:lnSpc>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68072892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C:\Users\t-peterd\AppData\Local\Microsoft\Windows\Temporary Internet Files\Content.IE5\TDHR6IDT\MP900424361[1].jpg"/>
          <p:cNvPicPr>
            <a:picLocks noChangeAspect="1" noChangeArrowheads="1"/>
          </p:cNvPicPr>
          <p:nvPr/>
        </p:nvPicPr>
        <p:blipFill rotWithShape="1">
          <a:blip r:embed="rId2">
            <a:extLst>
              <a:ext uri="{28A0092B-C50C-407E-A947-70E740481C1C}">
                <a14:useLocalDpi xmlns:a14="http://schemas.microsoft.com/office/drawing/2010/main" val="0"/>
              </a:ext>
            </a:extLst>
          </a:blip>
          <a:srcRect l="18074" r="14825"/>
          <a:stretch/>
        </p:blipFill>
        <p:spPr bwMode="auto">
          <a:xfrm flipH="1">
            <a:off x="7715428" y="-77409"/>
            <a:ext cx="4798650" cy="7151447"/>
          </a:xfrm>
          <a:prstGeom prst="rect">
            <a:avLst/>
          </a:prstGeom>
          <a:noFill/>
          <a:effectLst>
            <a:glow rad="12700">
              <a:srgbClr val="00BCF2">
                <a:alpha val="39000"/>
              </a:srgbClr>
            </a:glow>
            <a:softEdge rad="50800"/>
          </a:effectLst>
          <a:extLst>
            <a:ext uri="{909E8E84-426E-40DD-AFC4-6F175D3DCCD1}">
              <a14:hiddenFill xmlns:a14="http://schemas.microsoft.com/office/drawing/2010/main">
                <a:solidFill>
                  <a:srgbClr val="FFFFFF"/>
                </a:solidFill>
              </a14:hiddenFill>
            </a:ext>
          </a:extLst>
        </p:spPr>
      </p:pic>
      <p:sp>
        <p:nvSpPr>
          <p:cNvPr id="3" name="Title 2"/>
          <p:cNvSpPr>
            <a:spLocks noGrp="1"/>
          </p:cNvSpPr>
          <p:nvPr>
            <p:ph type="title"/>
          </p:nvPr>
        </p:nvSpPr>
        <p:spPr/>
        <p:txBody>
          <a:bodyPr/>
          <a:lstStyle/>
          <a:p>
            <a:r>
              <a:rPr lang="en-US" smtClean="0"/>
              <a:t>Windows Hello Security Requirements</a:t>
            </a:r>
            <a:endParaRPr lang="en-US" dirty="0"/>
          </a:p>
        </p:txBody>
      </p:sp>
      <p:sp>
        <p:nvSpPr>
          <p:cNvPr id="2" name="Text Placeholder 1"/>
          <p:cNvSpPr>
            <a:spLocks noGrp="1"/>
          </p:cNvSpPr>
          <p:nvPr>
            <p:ph type="body" sz="quarter" idx="10"/>
          </p:nvPr>
        </p:nvSpPr>
        <p:spPr>
          <a:xfrm>
            <a:off x="274638" y="1585534"/>
            <a:ext cx="10439399" cy="5321457"/>
          </a:xfrm>
        </p:spPr>
        <p:txBody>
          <a:bodyPr/>
          <a:lstStyle/>
          <a:p>
            <a:r>
              <a:rPr lang="en-US" sz="3600" dirty="0"/>
              <a:t>Use Windows end to end experiences and scenarios</a:t>
            </a:r>
          </a:p>
          <a:p>
            <a:pPr lvl="4"/>
            <a:r>
              <a:rPr lang="en-US" dirty="0"/>
              <a:t>share the same design language for enrollment and usage</a:t>
            </a:r>
          </a:p>
          <a:p>
            <a:endParaRPr lang="en-US" dirty="0"/>
          </a:p>
          <a:p>
            <a:r>
              <a:rPr lang="en-US" sz="3600" dirty="0"/>
              <a:t>Modality Meets OSS security requirements</a:t>
            </a:r>
          </a:p>
          <a:p>
            <a:pPr lvl="4"/>
            <a:r>
              <a:rPr lang="en-US" dirty="0"/>
              <a:t>Demonstrate False Acceptance Rate (FAR): 1/100,000</a:t>
            </a:r>
          </a:p>
          <a:p>
            <a:pPr lvl="4"/>
            <a:r>
              <a:rPr lang="en-US" dirty="0"/>
              <a:t>With False Rejection Rate: 2-4%, </a:t>
            </a:r>
          </a:p>
          <a:p>
            <a:pPr lvl="4"/>
            <a:r>
              <a:rPr lang="en-US" dirty="0"/>
              <a:t>Provide live-ness measures</a:t>
            </a:r>
          </a:p>
          <a:p>
            <a:pPr lvl="4"/>
            <a:r>
              <a:rPr lang="en-US" dirty="0"/>
              <a:t>Enable anti-spoofing detection</a:t>
            </a:r>
          </a:p>
          <a:p>
            <a:endParaRPr lang="en-US" sz="3600" dirty="0"/>
          </a:p>
          <a:p>
            <a:r>
              <a:rPr lang="en-US" sz="3600" dirty="0" smtClean="0"/>
              <a:t>Integrated with Windows Biometric Framework</a:t>
            </a:r>
          </a:p>
          <a:p>
            <a:endParaRPr lang="en-US" sz="3600" dirty="0" smtClean="0"/>
          </a:p>
        </p:txBody>
      </p:sp>
    </p:spTree>
    <p:extLst>
      <p:ext uri="{BB962C8B-B14F-4D97-AF65-F5344CB8AC3E}">
        <p14:creationId xmlns:p14="http://schemas.microsoft.com/office/powerpoint/2010/main" val="45338139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Summary</a:t>
            </a:r>
            <a:endParaRPr lang="en-US" dirty="0"/>
          </a:p>
        </p:txBody>
      </p:sp>
      <p:sp>
        <p:nvSpPr>
          <p:cNvPr id="3" name="Text Placeholder 2"/>
          <p:cNvSpPr>
            <a:spLocks noGrp="1"/>
          </p:cNvSpPr>
          <p:nvPr>
            <p:ph type="body" sz="quarter" idx="10"/>
          </p:nvPr>
        </p:nvSpPr>
        <p:spPr>
          <a:xfrm>
            <a:off x="274638" y="1212850"/>
            <a:ext cx="11887200" cy="4481227"/>
          </a:xfrm>
        </p:spPr>
        <p:txBody>
          <a:bodyPr/>
          <a:lstStyle/>
          <a:p>
            <a:pPr lvl="1"/>
            <a:r>
              <a:rPr lang="en-US" sz="2800" b="1" dirty="0">
                <a:solidFill>
                  <a:srgbClr val="00BDF3"/>
                </a:solidFill>
              </a:rPr>
              <a:t>Windows 10 is moving the world to a more secure, password-free experience, powered by Microsoft Passport and Biometrics……</a:t>
            </a:r>
          </a:p>
          <a:p>
            <a:pPr lvl="1"/>
            <a:endParaRPr lang="en-US" sz="2800" dirty="0" smtClean="0"/>
          </a:p>
          <a:p>
            <a:pPr marL="457200" lvl="1" indent="-457200">
              <a:spcAft>
                <a:spcPts val="1800"/>
              </a:spcAft>
              <a:buFont typeface="Arial" panose="020B0604020202020204" pitchFamily="34" charset="0"/>
              <a:buChar char="•"/>
            </a:pPr>
            <a:r>
              <a:rPr lang="en-US" sz="2800" b="1" dirty="0" smtClean="0"/>
              <a:t>Microsoft Passport </a:t>
            </a:r>
            <a:r>
              <a:rPr lang="en-US" sz="2800" dirty="0" smtClean="0"/>
              <a:t>is the password replacement </a:t>
            </a:r>
            <a:r>
              <a:rPr lang="en-US" sz="2800" smtClean="0"/>
              <a:t>solution focusing </a:t>
            </a:r>
            <a:r>
              <a:rPr lang="en-US" sz="2800" dirty="0" smtClean="0"/>
              <a:t>on the convenience and security</a:t>
            </a:r>
          </a:p>
          <a:p>
            <a:pPr marL="457200" lvl="1" indent="-457200">
              <a:spcAft>
                <a:spcPts val="1800"/>
              </a:spcAft>
              <a:buFont typeface="Arial" panose="020B0604020202020204" pitchFamily="34" charset="0"/>
              <a:buChar char="•"/>
            </a:pPr>
            <a:r>
              <a:rPr lang="en-US" sz="2800" b="1" dirty="0" smtClean="0"/>
              <a:t>Windows Hello </a:t>
            </a:r>
            <a:r>
              <a:rPr lang="en-US" sz="2800" dirty="0" smtClean="0"/>
              <a:t>is your face, iris, or fingerprint</a:t>
            </a:r>
          </a:p>
          <a:p>
            <a:pPr marL="457200" lvl="1" indent="-457200">
              <a:spcAft>
                <a:spcPts val="1800"/>
              </a:spcAft>
              <a:buFont typeface="Arial" panose="020B0604020202020204" pitchFamily="34" charset="0"/>
              <a:buChar char="•"/>
            </a:pPr>
            <a:r>
              <a:rPr lang="en-US" sz="2800" dirty="0" smtClean="0"/>
              <a:t>Windows Hello and PIN are Microsoft Passport Gestures that provide truly two factor authentication right from the box, so easy to use, do you want to try?</a:t>
            </a:r>
          </a:p>
        </p:txBody>
      </p:sp>
    </p:spTree>
    <p:extLst>
      <p:ext uri="{BB962C8B-B14F-4D97-AF65-F5344CB8AC3E}">
        <p14:creationId xmlns:p14="http://schemas.microsoft.com/office/powerpoint/2010/main" val="17686933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pic>
        <p:nvPicPr>
          <p:cNvPr id="13"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4381" t="4495" r="4428" b="4311"/>
          <a:stretch/>
        </p:blipFill>
        <p:spPr bwMode="auto">
          <a:xfrm>
            <a:off x="6864125" y="1555974"/>
            <a:ext cx="3813811" cy="3813811"/>
          </a:xfrm>
          <a:prstGeom prst="rect">
            <a:avLst/>
          </a:prstGeom>
          <a:noFill/>
          <a:extLst>
            <a:ext uri="{909E8E84-426E-40DD-AFC4-6F175D3DCCD1}">
              <a14:hiddenFill xmlns:a14="http://schemas.microsoft.com/office/drawing/2010/main">
                <a:solidFill>
                  <a:srgbClr val="FFFFFF"/>
                </a:solidFill>
              </a14:hiddenFill>
            </a:ext>
          </a:extLst>
        </p:spPr>
      </p:pic>
      <p:sp>
        <p:nvSpPr>
          <p:cNvPr id="4" name="Text Placeholder 5"/>
          <p:cNvSpPr txBox="1">
            <a:spLocks/>
          </p:cNvSpPr>
          <p:nvPr/>
        </p:nvSpPr>
        <p:spPr>
          <a:xfrm>
            <a:off x="5380179" y="5515801"/>
            <a:ext cx="7238858" cy="1306512"/>
          </a:xfrm>
          <a:prstGeom prst="rect">
            <a:avLst/>
          </a:prstGeom>
        </p:spPr>
        <p:txBody>
          <a:bodyPr vert="horz" wrap="square" lIns="146304" tIns="91440" rIns="146304" bIns="91440" rtlCol="0">
            <a:spAutoFit/>
          </a:bodyPr>
          <a:lstStyle>
            <a:lvl1pPr marL="0"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4000" kern="1200" spc="0" baseline="0">
                <a:gradFill>
                  <a:gsLst>
                    <a:gs pos="20354">
                      <a:schemeClr val="tx2"/>
                    </a:gs>
                    <a:gs pos="40000">
                      <a:schemeClr val="tx2"/>
                    </a:gs>
                  </a:gsLst>
                  <a:lin ang="5400000" scaled="0"/>
                </a:gradFill>
                <a:latin typeface="+mj-lt"/>
                <a:ea typeface="+mn-ea"/>
                <a:cs typeface="+mn-cs"/>
              </a:defRPr>
            </a:lvl1pPr>
            <a:lvl2pPr marL="0" marR="0" indent="0" algn="l" defTabSz="932667" rtl="0" eaLnBrk="1" fontAlgn="auto" latinLnBrk="0" hangingPunct="1">
              <a:lnSpc>
                <a:spcPct val="90000"/>
              </a:lnSpc>
              <a:spcBef>
                <a:spcPct val="20000"/>
              </a:spcBef>
              <a:spcAft>
                <a:spcPts val="0"/>
              </a:spcAft>
              <a:buClr>
                <a:schemeClr val="tx1"/>
              </a:buClr>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582"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3pPr>
            <a:lvl4pPr marL="457163"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4pPr>
            <a:lvl5pPr marL="685745"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742">
              <a:spcBef>
                <a:spcPct val="0"/>
              </a:spcBef>
              <a:buClr>
                <a:srgbClr val="000000"/>
              </a:buClr>
            </a:pPr>
            <a:r>
              <a:rPr lang="en-US" sz="2700" dirty="0" smtClean="0">
                <a:gradFill>
                  <a:gsLst>
                    <a:gs pos="0">
                      <a:srgbClr val="FFFFFF"/>
                    </a:gs>
                    <a:gs pos="100000">
                      <a:srgbClr val="FFFFFF"/>
                    </a:gs>
                  </a:gsLst>
                  <a:lin ang="5400000" scaled="1"/>
                </a:gradFill>
              </a:rPr>
              <a:t>Visit</a:t>
            </a:r>
            <a:r>
              <a:rPr lang="en-US" sz="2700" dirty="0" smtClean="0">
                <a:gradFill>
                  <a:gsLst>
                    <a:gs pos="0">
                      <a:srgbClr val="47D8FF"/>
                    </a:gs>
                    <a:gs pos="100000">
                      <a:srgbClr val="47D8FF"/>
                    </a:gs>
                  </a:gsLst>
                  <a:lin ang="5400000" scaled="1"/>
                </a:gradFill>
              </a:rPr>
              <a:t> </a:t>
            </a:r>
            <a:r>
              <a:rPr lang="en-US" sz="2700" dirty="0" err="1" smtClean="0">
                <a:gradFill>
                  <a:gsLst>
                    <a:gs pos="0">
                      <a:srgbClr val="47D8FF"/>
                    </a:gs>
                    <a:gs pos="100000">
                      <a:srgbClr val="47D8FF"/>
                    </a:gs>
                  </a:gsLst>
                  <a:lin ang="5400000" scaled="1"/>
                </a:gradFill>
              </a:rPr>
              <a:t>Myignite</a:t>
            </a:r>
            <a:r>
              <a:rPr lang="en-US" sz="2700" dirty="0" smtClean="0">
                <a:gradFill>
                  <a:gsLst>
                    <a:gs pos="0">
                      <a:srgbClr val="47D8FF"/>
                    </a:gs>
                    <a:gs pos="100000">
                      <a:srgbClr val="47D8FF"/>
                    </a:gs>
                  </a:gsLst>
                  <a:lin ang="5400000" scaled="1"/>
                </a:gradFill>
              </a:rPr>
              <a:t> </a:t>
            </a:r>
            <a:r>
              <a:rPr lang="en-US" sz="2700" dirty="0" smtClean="0">
                <a:gradFill>
                  <a:gsLst>
                    <a:gs pos="0">
                      <a:srgbClr val="FFFFFF"/>
                    </a:gs>
                    <a:gs pos="100000">
                      <a:srgbClr val="FFFFFF"/>
                    </a:gs>
                  </a:gsLst>
                  <a:lin ang="5400000" scaled="1"/>
                </a:gradFill>
              </a:rPr>
              <a:t>at</a:t>
            </a:r>
            <a:r>
              <a:rPr lang="en-US" sz="2700" dirty="0" smtClean="0">
                <a:gradFill>
                  <a:gsLst>
                    <a:gs pos="0">
                      <a:srgbClr val="47D8FF"/>
                    </a:gs>
                    <a:gs pos="100000">
                      <a:srgbClr val="47D8FF"/>
                    </a:gs>
                  </a:gsLst>
                  <a:lin ang="5400000" scaled="1"/>
                </a:gradFill>
              </a:rPr>
              <a:t> </a:t>
            </a:r>
            <a:r>
              <a:rPr lang="en-US" sz="2700" dirty="0" smtClean="0">
                <a:gradFill>
                  <a:gsLst>
                    <a:gs pos="20354">
                      <a:srgbClr val="505050"/>
                    </a:gs>
                    <a:gs pos="40000">
                      <a:srgbClr val="505050"/>
                    </a:gs>
                  </a:gsLst>
                  <a:lin ang="5400000" scaled="0"/>
                </a:gradFill>
                <a:hlinkClick r:id="rId4"/>
              </a:rPr>
              <a:t>http://myignite.microsoft.com</a:t>
            </a:r>
            <a:r>
              <a:rPr lang="en-US" sz="2700" dirty="0" smtClean="0">
                <a:gradFill>
                  <a:gsLst>
                    <a:gs pos="20354">
                      <a:srgbClr val="505050"/>
                    </a:gs>
                    <a:gs pos="40000">
                      <a:srgbClr val="505050"/>
                    </a:gs>
                  </a:gsLst>
                  <a:lin ang="5400000" scaled="0"/>
                </a:gradFill>
              </a:rPr>
              <a:t> </a:t>
            </a:r>
            <a:r>
              <a:rPr lang="en-US" sz="2700" dirty="0" smtClean="0">
                <a:gradFill>
                  <a:gsLst>
                    <a:gs pos="0">
                      <a:srgbClr val="47D8FF"/>
                    </a:gs>
                    <a:gs pos="100000">
                      <a:srgbClr val="47D8FF"/>
                    </a:gs>
                  </a:gsLst>
                  <a:lin ang="5400000" scaled="1"/>
                </a:gradFill>
              </a:rPr>
              <a:t> </a:t>
            </a:r>
            <a:br>
              <a:rPr lang="en-US" sz="2700" dirty="0" smtClean="0">
                <a:gradFill>
                  <a:gsLst>
                    <a:gs pos="0">
                      <a:srgbClr val="47D8FF"/>
                    </a:gs>
                    <a:gs pos="100000">
                      <a:srgbClr val="47D8FF"/>
                    </a:gs>
                  </a:gsLst>
                  <a:lin ang="5400000" scaled="1"/>
                </a:gradFill>
              </a:rPr>
            </a:br>
            <a:r>
              <a:rPr lang="en-US" sz="2700" dirty="0">
                <a:gradFill>
                  <a:gsLst>
                    <a:gs pos="0">
                      <a:srgbClr val="FFFFFF"/>
                    </a:gs>
                    <a:gs pos="100000">
                      <a:srgbClr val="FFFFFF"/>
                    </a:gs>
                  </a:gsLst>
                  <a:lin ang="5400000" scaled="1"/>
                </a:gradFill>
              </a:rPr>
              <a:t>or download and use the </a:t>
            </a:r>
            <a:r>
              <a:rPr lang="en-US" sz="2700" dirty="0">
                <a:gradFill>
                  <a:gsLst>
                    <a:gs pos="0">
                      <a:srgbClr val="47D8FF"/>
                    </a:gs>
                    <a:gs pos="100000">
                      <a:srgbClr val="47D8FF"/>
                    </a:gs>
                  </a:gsLst>
                  <a:lin ang="5400000" scaled="1"/>
                </a:gradFill>
              </a:rPr>
              <a:t>Ignite </a:t>
            </a:r>
            <a:r>
              <a:rPr lang="en-US" sz="2700" dirty="0" smtClean="0">
                <a:gradFill>
                  <a:gsLst>
                    <a:gs pos="0">
                      <a:srgbClr val="47D8FF"/>
                    </a:gs>
                    <a:gs pos="100000">
                      <a:srgbClr val="47D8FF"/>
                    </a:gs>
                  </a:gsLst>
                  <a:lin ang="5400000" scaled="1"/>
                </a:gradFill>
              </a:rPr>
              <a:t>Mobile </a:t>
            </a:r>
            <a:r>
              <a:rPr lang="en-US" sz="2700" dirty="0">
                <a:gradFill>
                  <a:gsLst>
                    <a:gs pos="0">
                      <a:srgbClr val="47D8FF"/>
                    </a:gs>
                    <a:gs pos="100000">
                      <a:srgbClr val="47D8FF"/>
                    </a:gs>
                  </a:gsLst>
                  <a:lin ang="5400000" scaled="1"/>
                </a:gradFill>
              </a:rPr>
              <a:t>App</a:t>
            </a:r>
            <a:r>
              <a:rPr lang="en-US" sz="2700" dirty="0">
                <a:gradFill>
                  <a:gsLst>
                    <a:gs pos="0">
                      <a:srgbClr val="FFFFFF"/>
                    </a:gs>
                    <a:gs pos="100000">
                      <a:srgbClr val="FFFFFF"/>
                    </a:gs>
                  </a:gsLst>
                  <a:lin ang="5400000" scaled="1"/>
                </a:gradFill>
              </a:rPr>
              <a:t> </a:t>
            </a:r>
            <a:r>
              <a:rPr lang="en-US" sz="2700" dirty="0" smtClean="0">
                <a:gradFill>
                  <a:gsLst>
                    <a:gs pos="0">
                      <a:srgbClr val="FFFFFF"/>
                    </a:gs>
                    <a:gs pos="100000">
                      <a:srgbClr val="FFFFFF"/>
                    </a:gs>
                  </a:gsLst>
                  <a:lin ang="5400000" scaled="1"/>
                </a:gradFill>
              </a:rPr>
              <a:t/>
            </a:r>
            <a:br>
              <a:rPr lang="en-US" sz="2700" dirty="0" smtClean="0">
                <a:gradFill>
                  <a:gsLst>
                    <a:gs pos="0">
                      <a:srgbClr val="FFFFFF"/>
                    </a:gs>
                    <a:gs pos="100000">
                      <a:srgbClr val="FFFFFF"/>
                    </a:gs>
                  </a:gsLst>
                  <a:lin ang="5400000" scaled="1"/>
                </a:gradFill>
              </a:rPr>
            </a:br>
            <a:r>
              <a:rPr lang="en-US" sz="2700" dirty="0" smtClean="0">
                <a:gradFill>
                  <a:gsLst>
                    <a:gs pos="0">
                      <a:srgbClr val="FFFFFF"/>
                    </a:gs>
                    <a:gs pos="100000">
                      <a:srgbClr val="FFFFFF"/>
                    </a:gs>
                  </a:gsLst>
                  <a:lin ang="5400000" scaled="1"/>
                </a:gradFill>
              </a:rPr>
              <a:t>with </a:t>
            </a:r>
            <a:r>
              <a:rPr lang="en-US" sz="2700" dirty="0">
                <a:gradFill>
                  <a:gsLst>
                    <a:gs pos="0">
                      <a:srgbClr val="FFFFFF"/>
                    </a:gs>
                    <a:gs pos="100000">
                      <a:srgbClr val="FFFFFF"/>
                    </a:gs>
                  </a:gsLst>
                  <a:lin ang="5400000" scaled="1"/>
                </a:gradFill>
              </a:rPr>
              <a:t>the QR code above.</a:t>
            </a:r>
          </a:p>
        </p:txBody>
      </p:sp>
      <p:sp>
        <p:nvSpPr>
          <p:cNvPr id="11" name="Title 1"/>
          <p:cNvSpPr txBox="1">
            <a:spLocks/>
          </p:cNvSpPr>
          <p:nvPr/>
        </p:nvSpPr>
        <p:spPr>
          <a:xfrm>
            <a:off x="5380037" y="295274"/>
            <a:ext cx="6784166" cy="915989"/>
          </a:xfrm>
          <a:prstGeom prst="rect">
            <a:avLst/>
          </a:prstGeom>
        </p:spPr>
        <p:txBody>
          <a:bodyPr lIns="182880" tIns="146304" rIns="182880" bIns="146304"/>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nSpc>
                <a:spcPct val="80000"/>
              </a:lnSpc>
            </a:pPr>
            <a:r>
              <a:rPr sz="4000">
                <a:gradFill>
                  <a:gsLst>
                    <a:gs pos="1250">
                      <a:srgbClr val="FFFFFF"/>
                    </a:gs>
                    <a:gs pos="100000">
                      <a:srgbClr val="FFFFFF"/>
                    </a:gs>
                  </a:gsLst>
                  <a:lin ang="5400000" scaled="0"/>
                </a:gradFill>
              </a:rPr>
              <a:t>Please evaluate this session</a:t>
            </a:r>
          </a:p>
          <a:p>
            <a:pPr>
              <a:lnSpc>
                <a:spcPct val="80000"/>
              </a:lnSpc>
            </a:pPr>
            <a:r>
              <a:rPr sz="3200">
                <a:gradFill>
                  <a:gsLst>
                    <a:gs pos="1250">
                      <a:srgbClr val="FF8C00"/>
                    </a:gs>
                    <a:gs pos="100000">
                      <a:srgbClr val="FF8C00"/>
                    </a:gs>
                  </a:gsLst>
                  <a:lin ang="5400000" scaled="0"/>
                </a:gradFill>
              </a:rPr>
              <a:t>Your feedback is important to us!</a:t>
            </a:r>
            <a:endParaRPr sz="3600">
              <a:gradFill>
                <a:gsLst>
                  <a:gs pos="1250">
                    <a:srgbClr val="FF8C00"/>
                  </a:gs>
                  <a:gs pos="100000">
                    <a:srgbClr val="FF8C00"/>
                  </a:gs>
                </a:gsLst>
                <a:lin ang="5400000" scaled="0"/>
              </a:gradFill>
            </a:endParaRPr>
          </a:p>
        </p:txBody>
      </p:sp>
      <p:pic>
        <p:nvPicPr>
          <p:cNvPr id="14" name="Picture 13"/>
          <p:cNvPicPr>
            <a:picLocks noChangeAspect="1"/>
          </p:cNvPicPr>
          <p:nvPr/>
        </p:nvPicPr>
        <p:blipFill rotWithShape="1">
          <a:blip r:embed="rId5">
            <a:extLst>
              <a:ext uri="{28A0092B-C50C-407E-A947-70E740481C1C}">
                <a14:useLocalDpi xmlns:a14="http://schemas.microsoft.com/office/drawing/2010/main"/>
              </a:ext>
            </a:extLst>
          </a:blip>
          <a:srcRect l="14729" r="3549"/>
          <a:stretch/>
        </p:blipFill>
        <p:spPr>
          <a:xfrm>
            <a:off x="0" y="-1"/>
            <a:ext cx="5227637" cy="6994525"/>
          </a:xfrm>
          <a:prstGeom prst="rect">
            <a:avLst/>
          </a:prstGeom>
        </p:spPr>
      </p:pic>
    </p:spTree>
    <p:extLst>
      <p:ext uri="{BB962C8B-B14F-4D97-AF65-F5344CB8AC3E}">
        <p14:creationId xmlns:p14="http://schemas.microsoft.com/office/powerpoint/2010/main" val="2832577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81939241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976558" y="1834661"/>
            <a:ext cx="3224983" cy="332399"/>
          </a:xfrm>
          <a:prstGeom prst="rect">
            <a:avLst/>
          </a:prstGeom>
        </p:spPr>
        <p:txBody>
          <a:bodyPr vert="horz" wrap="square" lIns="0" tIns="0" rIns="0" bIns="0" rtlCol="0" anchor="b">
            <a:spAutoFit/>
          </a:bodyPr>
          <a:lstStyle>
            <a:lvl1pPr algn="l" defTabSz="914277" rtl="0" eaLnBrk="1" latinLnBrk="0" hangingPunct="1">
              <a:lnSpc>
                <a:spcPct val="90000"/>
              </a:lnSpc>
              <a:spcBef>
                <a:spcPct val="0"/>
              </a:spcBef>
              <a:buNone/>
              <a:defRPr lang="en-US" sz="5400" b="0" kern="1200" cap="none" spc="-100" baseline="0" dirty="0">
                <a:ln w="3175">
                  <a:noFill/>
                </a:ln>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effectLst/>
                <a:latin typeface="Segoe UI Light" pitchFamily="34" charset="0"/>
                <a:ea typeface="+mn-ea"/>
                <a:cs typeface="+mn-cs"/>
              </a:defRPr>
            </a:lvl1pPr>
          </a:lstStyle>
          <a:p>
            <a:pPr algn="r"/>
            <a:r>
              <a:rPr sz="2400" smtClean="0">
                <a:solidFill>
                  <a:srgbClr val="FFFFFF">
                    <a:lumMod val="85000"/>
                  </a:srgbClr>
                </a:solidFill>
                <a:latin typeface="Segoe UI"/>
              </a:rPr>
              <a:t>introducing</a:t>
            </a:r>
            <a:endParaRPr sz="3600">
              <a:solidFill>
                <a:srgbClr val="FFFFFF">
                  <a:lumMod val="85000"/>
                </a:srgbClr>
              </a:solidFill>
              <a:latin typeface="Segoe UI"/>
            </a:endParaRPr>
          </a:p>
        </p:txBody>
      </p:sp>
      <p:sp>
        <p:nvSpPr>
          <p:cNvPr id="47" name="Title 1"/>
          <p:cNvSpPr txBox="1">
            <a:spLocks/>
          </p:cNvSpPr>
          <p:nvPr/>
        </p:nvSpPr>
        <p:spPr>
          <a:xfrm>
            <a:off x="198437" y="2441519"/>
            <a:ext cx="4022883" cy="1495794"/>
          </a:xfrm>
          <a:prstGeom prst="rect">
            <a:avLst/>
          </a:prstGeom>
        </p:spPr>
        <p:txBody>
          <a:bodyPr vert="horz" wrap="square" lIns="0" tIns="0" rIns="0" bIns="0" rtlCol="0" anchor="t">
            <a:spAutoFit/>
          </a:bodyPr>
          <a:lstStyle>
            <a:lvl1pPr algn="l" defTabSz="914277" rtl="0" eaLnBrk="1" latinLnBrk="0" hangingPunct="1">
              <a:lnSpc>
                <a:spcPct val="90000"/>
              </a:lnSpc>
              <a:spcBef>
                <a:spcPct val="0"/>
              </a:spcBef>
              <a:buNone/>
              <a:defRPr lang="en-US" sz="5400" b="0" kern="1200" cap="none" spc="-100" baseline="0" dirty="0">
                <a:ln w="3175">
                  <a:noFill/>
                </a:ln>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effectLst/>
                <a:latin typeface="Segoe UI Light" pitchFamily="34" charset="0"/>
                <a:ea typeface="+mn-ea"/>
                <a:cs typeface="+mn-cs"/>
              </a:defRPr>
            </a:lvl1pPr>
          </a:lstStyle>
          <a:p>
            <a:pPr algn="r">
              <a:spcBef>
                <a:spcPts val="450"/>
              </a:spcBef>
            </a:pPr>
            <a:r>
              <a:rPr sz="3600">
                <a:solidFill>
                  <a:srgbClr val="00BCF2"/>
                </a:solidFill>
                <a:latin typeface="Segoe UI Light"/>
              </a:rPr>
              <a:t> </a:t>
            </a:r>
            <a:r>
              <a:rPr sz="3600" smtClean="0">
                <a:solidFill>
                  <a:srgbClr val="00BCF2"/>
                </a:solidFill>
                <a:latin typeface="Segoe UI Light"/>
              </a:rPr>
              <a:t> </a:t>
            </a:r>
            <a:r>
              <a:rPr b="1" smtClean="0">
                <a:solidFill>
                  <a:srgbClr val="00BCF2"/>
                </a:solidFill>
                <a:latin typeface="Segoe UI Light"/>
              </a:rPr>
              <a:t>Microsoft "Passport"</a:t>
            </a:r>
            <a:endParaRPr sz="6000" b="1">
              <a:solidFill>
                <a:srgbClr val="00BCF2"/>
              </a:solidFill>
              <a:latin typeface="Segoe UI Light"/>
            </a:endParaRPr>
          </a:p>
        </p:txBody>
      </p:sp>
      <p:cxnSp>
        <p:nvCxnSpPr>
          <p:cNvPr id="9" name="Straight Connector 8"/>
          <p:cNvCxnSpPr/>
          <p:nvPr/>
        </p:nvCxnSpPr>
        <p:spPr>
          <a:xfrm>
            <a:off x="4973185" y="891222"/>
            <a:ext cx="0" cy="5212080"/>
          </a:xfrm>
          <a:prstGeom prst="line">
            <a:avLst/>
          </a:prstGeom>
          <a:ln>
            <a:solidFill>
              <a:srgbClr val="DBDBDB"/>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5643103" y="1461736"/>
            <a:ext cx="6406712" cy="1200329"/>
          </a:xfrm>
          <a:prstGeom prst="rect">
            <a:avLst/>
          </a:prstGeom>
        </p:spPr>
        <p:txBody>
          <a:bodyPr wrap="square">
            <a:spAutoFit/>
          </a:bodyPr>
          <a:lstStyle/>
          <a:p>
            <a:r>
              <a:rPr lang="en-US" sz="2400" dirty="0">
                <a:solidFill>
                  <a:prstClr val="white"/>
                </a:solidFill>
                <a:cs typeface="Segoe UI Light" panose="020B0502040204020203" pitchFamily="34" charset="0"/>
              </a:rPr>
              <a:t>Replace passwords with a private key made available solely through a “user gesture” (PIN, Windows Hello, remote device, etc.)</a:t>
            </a:r>
            <a:endParaRPr lang="en-US" sz="2400" spc="-75" dirty="0">
              <a:ln w="3175">
                <a:noFill/>
              </a:ln>
              <a:solidFill>
                <a:srgbClr val="FFFFFF"/>
              </a:solidFill>
            </a:endParaRPr>
          </a:p>
        </p:txBody>
      </p:sp>
      <p:sp>
        <p:nvSpPr>
          <p:cNvPr id="4" name="TextBox 3"/>
          <p:cNvSpPr txBox="1"/>
          <p:nvPr/>
        </p:nvSpPr>
        <p:spPr>
          <a:xfrm>
            <a:off x="1870033" y="4945062"/>
            <a:ext cx="2331508" cy="461665"/>
          </a:xfrm>
          <a:prstGeom prst="rect">
            <a:avLst/>
          </a:prstGeom>
          <a:noFill/>
        </p:spPr>
        <p:txBody>
          <a:bodyPr wrap="square" rtlCol="0">
            <a:spAutoFit/>
          </a:bodyPr>
          <a:lstStyle/>
          <a:p>
            <a:pPr algn="r"/>
            <a:r>
              <a:rPr lang="en-US" sz="2400" b="1" dirty="0" smtClean="0">
                <a:solidFill>
                  <a:prstClr val="white"/>
                </a:solidFill>
              </a:rPr>
              <a:t>GOALS:</a:t>
            </a:r>
            <a:endParaRPr lang="en-US" sz="2400" b="1" dirty="0">
              <a:solidFill>
                <a:prstClr val="white"/>
              </a:solidFill>
            </a:endParaRPr>
          </a:p>
        </p:txBody>
      </p:sp>
      <p:sp>
        <p:nvSpPr>
          <p:cNvPr id="12" name="Rectangle 11"/>
          <p:cNvSpPr/>
          <p:nvPr/>
        </p:nvSpPr>
        <p:spPr>
          <a:xfrm>
            <a:off x="5659743" y="3016804"/>
            <a:ext cx="6358280" cy="830997"/>
          </a:xfrm>
          <a:prstGeom prst="rect">
            <a:avLst/>
          </a:prstGeom>
        </p:spPr>
        <p:txBody>
          <a:bodyPr wrap="square">
            <a:spAutoFit/>
          </a:bodyPr>
          <a:lstStyle/>
          <a:p>
            <a:r>
              <a:rPr lang="en-US" sz="2400" dirty="0">
                <a:solidFill>
                  <a:prstClr val="white"/>
                </a:solidFill>
                <a:cs typeface="Segoe UI Light" panose="020B0502040204020203" pitchFamily="34" charset="0"/>
              </a:rPr>
              <a:t>Support both local Passport and Passport2Go (phone, USB dongle, etc.)</a:t>
            </a:r>
            <a:endParaRPr lang="en-US" sz="2400" spc="-75" dirty="0">
              <a:ln w="3175">
                <a:noFill/>
              </a:ln>
              <a:solidFill>
                <a:srgbClr val="FFFFFF"/>
              </a:solidFill>
            </a:endParaRPr>
          </a:p>
        </p:txBody>
      </p:sp>
      <p:sp>
        <p:nvSpPr>
          <p:cNvPr id="13" name="Rectangle 12"/>
          <p:cNvSpPr/>
          <p:nvPr/>
        </p:nvSpPr>
        <p:spPr>
          <a:xfrm>
            <a:off x="5649015" y="4202540"/>
            <a:ext cx="6440252" cy="1569660"/>
          </a:xfrm>
          <a:prstGeom prst="rect">
            <a:avLst/>
          </a:prstGeom>
        </p:spPr>
        <p:txBody>
          <a:bodyPr wrap="square">
            <a:spAutoFit/>
          </a:bodyPr>
          <a:lstStyle/>
          <a:p>
            <a:r>
              <a:rPr lang="en-US" sz="2400" dirty="0">
                <a:solidFill>
                  <a:prstClr val="white"/>
                </a:solidFill>
                <a:cs typeface="Segoe UI Light" panose="020B0502040204020203" pitchFamily="34" charset="0"/>
              </a:rPr>
              <a:t>Introduce MSFT Passport because of its convenience first and security first,</a:t>
            </a:r>
          </a:p>
          <a:p>
            <a:r>
              <a:rPr lang="en-US" sz="2400" dirty="0">
                <a:solidFill>
                  <a:prstClr val="white"/>
                </a:solidFill>
                <a:cs typeface="Segoe UI Light" panose="020B0502040204020203" pitchFamily="34" charset="0"/>
              </a:rPr>
              <a:t>UX must be </a:t>
            </a:r>
            <a:r>
              <a:rPr lang="en-US" sz="2400" u="sng" dirty="0">
                <a:solidFill>
                  <a:prstClr val="white"/>
                </a:solidFill>
                <a:cs typeface="Segoe UI Light" panose="020B0502040204020203" pitchFamily="34" charset="0"/>
              </a:rPr>
              <a:t>at least</a:t>
            </a:r>
            <a:r>
              <a:rPr lang="en-US" sz="2400" dirty="0">
                <a:solidFill>
                  <a:prstClr val="white"/>
                </a:solidFill>
                <a:cs typeface="Segoe UI Light" panose="020B0502040204020203" pitchFamily="34" charset="0"/>
              </a:rPr>
              <a:t> as good as with passwords</a:t>
            </a:r>
            <a:endParaRPr lang="en-US" sz="2400" spc="-75" dirty="0">
              <a:ln w="3175">
                <a:noFill/>
              </a:ln>
              <a:solidFill>
                <a:srgbClr val="FFFFFF"/>
              </a:solidFill>
            </a:endParaRPr>
          </a:p>
        </p:txBody>
      </p:sp>
    </p:spTree>
    <p:custDataLst>
      <p:tags r:id="rId1"/>
    </p:custDataLst>
    <p:extLst>
      <p:ext uri="{BB962C8B-B14F-4D97-AF65-F5344CB8AC3E}">
        <p14:creationId xmlns:p14="http://schemas.microsoft.com/office/powerpoint/2010/main" val="280267804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75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750" fill="hold"/>
                                        <p:tgtEl>
                                          <p:spTgt spid="2"/>
                                        </p:tgtEl>
                                        <p:attrNameLst>
                                          <p:attrName>ppt_x</p:attrName>
                                        </p:attrNameLst>
                                      </p:cBhvr>
                                      <p:tavLst>
                                        <p:tav tm="0">
                                          <p:val>
                                            <p:strVal val="#ppt_x"/>
                                          </p:val>
                                        </p:tav>
                                        <p:tav tm="100000">
                                          <p:val>
                                            <p:strVal val="#ppt_x"/>
                                          </p:val>
                                        </p:tav>
                                      </p:tavLst>
                                    </p:anim>
                                    <p:anim calcmode="lin" valueType="num">
                                      <p:cBhvr additive="base">
                                        <p:cTn id="8" dur="750" fill="hold"/>
                                        <p:tgtEl>
                                          <p:spTgt spid="2"/>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decel="100000" fill="hold" grpId="0" nodeType="clickEffect">
                                  <p:stCondLst>
                                    <p:cond delay="0"/>
                                  </p:stCondLst>
                                  <p:childTnLst>
                                    <p:set>
                                      <p:cBhvr>
                                        <p:cTn id="12" dur="1" fill="hold">
                                          <p:stCondLst>
                                            <p:cond delay="0"/>
                                          </p:stCondLst>
                                        </p:cTn>
                                        <p:tgtEl>
                                          <p:spTgt spid="12"/>
                                        </p:tgtEl>
                                        <p:attrNameLst>
                                          <p:attrName>style.visibility</p:attrName>
                                        </p:attrNameLst>
                                      </p:cBhvr>
                                      <p:to>
                                        <p:strVal val="visible"/>
                                      </p:to>
                                    </p:set>
                                    <p:anim calcmode="lin" valueType="num">
                                      <p:cBhvr additive="base">
                                        <p:cTn id="13" dur="750" fill="hold"/>
                                        <p:tgtEl>
                                          <p:spTgt spid="12"/>
                                        </p:tgtEl>
                                        <p:attrNameLst>
                                          <p:attrName>ppt_x</p:attrName>
                                        </p:attrNameLst>
                                      </p:cBhvr>
                                      <p:tavLst>
                                        <p:tav tm="0">
                                          <p:val>
                                            <p:strVal val="#ppt_x"/>
                                          </p:val>
                                        </p:tav>
                                        <p:tav tm="100000">
                                          <p:val>
                                            <p:strVal val="#ppt_x"/>
                                          </p:val>
                                        </p:tav>
                                      </p:tavLst>
                                    </p:anim>
                                    <p:anim calcmode="lin" valueType="num">
                                      <p:cBhvr additive="base">
                                        <p:cTn id="14" dur="750" fill="hold"/>
                                        <p:tgtEl>
                                          <p:spTgt spid="12"/>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decel="100000" fill="hold" grpId="0" nodeType="clickEffect">
                                  <p:stCondLst>
                                    <p:cond delay="0"/>
                                  </p:stCondLst>
                                  <p:childTnLst>
                                    <p:set>
                                      <p:cBhvr>
                                        <p:cTn id="18" dur="1" fill="hold">
                                          <p:stCondLst>
                                            <p:cond delay="0"/>
                                          </p:stCondLst>
                                        </p:cTn>
                                        <p:tgtEl>
                                          <p:spTgt spid="13"/>
                                        </p:tgtEl>
                                        <p:attrNameLst>
                                          <p:attrName>style.visibility</p:attrName>
                                        </p:attrNameLst>
                                      </p:cBhvr>
                                      <p:to>
                                        <p:strVal val="visible"/>
                                      </p:to>
                                    </p:set>
                                    <p:anim calcmode="lin" valueType="num">
                                      <p:cBhvr additive="base">
                                        <p:cTn id="19" dur="750" fill="hold"/>
                                        <p:tgtEl>
                                          <p:spTgt spid="13"/>
                                        </p:tgtEl>
                                        <p:attrNameLst>
                                          <p:attrName>ppt_x</p:attrName>
                                        </p:attrNameLst>
                                      </p:cBhvr>
                                      <p:tavLst>
                                        <p:tav tm="0">
                                          <p:val>
                                            <p:strVal val="#ppt_x"/>
                                          </p:val>
                                        </p:tav>
                                        <p:tav tm="100000">
                                          <p:val>
                                            <p:strVal val="#ppt_x"/>
                                          </p:val>
                                        </p:tav>
                                      </p:tavLst>
                                    </p:anim>
                                    <p:anim calcmode="lin" valueType="num">
                                      <p:cBhvr additive="base">
                                        <p:cTn id="20" dur="750" fill="hold"/>
                                        <p:tgtEl>
                                          <p:spTgt spid="1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2" grpId="0"/>
      <p:bldP spid="13"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976558" y="1834661"/>
            <a:ext cx="3224983" cy="332399"/>
          </a:xfrm>
          <a:prstGeom prst="rect">
            <a:avLst/>
          </a:prstGeom>
        </p:spPr>
        <p:txBody>
          <a:bodyPr vert="horz" wrap="square" lIns="0" tIns="0" rIns="0" bIns="0" rtlCol="0" anchor="b">
            <a:spAutoFit/>
          </a:bodyPr>
          <a:lstStyle>
            <a:lvl1pPr algn="l" defTabSz="914277" rtl="0" eaLnBrk="1" latinLnBrk="0" hangingPunct="1">
              <a:lnSpc>
                <a:spcPct val="90000"/>
              </a:lnSpc>
              <a:spcBef>
                <a:spcPct val="0"/>
              </a:spcBef>
              <a:buNone/>
              <a:defRPr lang="en-US" sz="5400" b="0" kern="1200" cap="none" spc="-100" baseline="0" dirty="0">
                <a:ln w="3175">
                  <a:noFill/>
                </a:ln>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effectLst/>
                <a:latin typeface="Segoe UI Light" pitchFamily="34" charset="0"/>
                <a:ea typeface="+mn-ea"/>
                <a:cs typeface="+mn-cs"/>
              </a:defRPr>
            </a:lvl1pPr>
          </a:lstStyle>
          <a:p>
            <a:pPr algn="r"/>
            <a:r>
              <a:rPr sz="2400" smtClean="0">
                <a:solidFill>
                  <a:srgbClr val="FFFFFF">
                    <a:lumMod val="85000"/>
                  </a:srgbClr>
                </a:solidFill>
                <a:latin typeface="Segoe UI"/>
              </a:rPr>
              <a:t>using</a:t>
            </a:r>
            <a:endParaRPr sz="3600">
              <a:solidFill>
                <a:srgbClr val="FFFFFF">
                  <a:lumMod val="85000"/>
                </a:srgbClr>
              </a:solidFill>
              <a:latin typeface="Segoe UI"/>
            </a:endParaRPr>
          </a:p>
        </p:txBody>
      </p:sp>
      <p:sp>
        <p:nvSpPr>
          <p:cNvPr id="47" name="Title 1"/>
          <p:cNvSpPr txBox="1">
            <a:spLocks/>
          </p:cNvSpPr>
          <p:nvPr/>
        </p:nvSpPr>
        <p:spPr>
          <a:xfrm>
            <a:off x="198437" y="2441519"/>
            <a:ext cx="4022883" cy="1495794"/>
          </a:xfrm>
          <a:prstGeom prst="rect">
            <a:avLst/>
          </a:prstGeom>
        </p:spPr>
        <p:txBody>
          <a:bodyPr vert="horz" wrap="square" lIns="0" tIns="0" rIns="0" bIns="0" rtlCol="0" anchor="t">
            <a:spAutoFit/>
          </a:bodyPr>
          <a:lstStyle>
            <a:lvl1pPr algn="l" defTabSz="914277" rtl="0" eaLnBrk="1" latinLnBrk="0" hangingPunct="1">
              <a:lnSpc>
                <a:spcPct val="90000"/>
              </a:lnSpc>
              <a:spcBef>
                <a:spcPct val="0"/>
              </a:spcBef>
              <a:buNone/>
              <a:defRPr lang="en-US" sz="5400" b="0" kern="1200" cap="none" spc="-100" baseline="0" dirty="0">
                <a:ln w="3175">
                  <a:noFill/>
                </a:ln>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effectLst/>
                <a:latin typeface="Segoe UI Light" pitchFamily="34" charset="0"/>
                <a:ea typeface="+mn-ea"/>
                <a:cs typeface="+mn-cs"/>
              </a:defRPr>
            </a:lvl1pPr>
          </a:lstStyle>
          <a:p>
            <a:pPr algn="r">
              <a:spcBef>
                <a:spcPts val="450"/>
              </a:spcBef>
            </a:pPr>
            <a:r>
              <a:rPr sz="3600">
                <a:solidFill>
                  <a:srgbClr val="00BCF2"/>
                </a:solidFill>
                <a:latin typeface="Segoe UI Light"/>
              </a:rPr>
              <a:t> </a:t>
            </a:r>
            <a:r>
              <a:rPr sz="3600" smtClean="0">
                <a:solidFill>
                  <a:srgbClr val="00BCF2"/>
                </a:solidFill>
                <a:latin typeface="Segoe UI Light"/>
              </a:rPr>
              <a:t> </a:t>
            </a:r>
            <a:r>
              <a:rPr b="1" smtClean="0">
                <a:solidFill>
                  <a:srgbClr val="00BCF2"/>
                </a:solidFill>
                <a:latin typeface="Segoe UI Light"/>
              </a:rPr>
              <a:t>Microsoft "Passport"</a:t>
            </a:r>
            <a:endParaRPr sz="6000" b="1">
              <a:solidFill>
                <a:srgbClr val="00BCF2"/>
              </a:solidFill>
              <a:latin typeface="Segoe UI Light"/>
            </a:endParaRPr>
          </a:p>
        </p:txBody>
      </p:sp>
      <p:cxnSp>
        <p:nvCxnSpPr>
          <p:cNvPr id="9" name="Straight Connector 8"/>
          <p:cNvCxnSpPr/>
          <p:nvPr/>
        </p:nvCxnSpPr>
        <p:spPr>
          <a:xfrm>
            <a:off x="4973185" y="891222"/>
            <a:ext cx="0" cy="5212080"/>
          </a:xfrm>
          <a:prstGeom prst="line">
            <a:avLst/>
          </a:prstGeom>
          <a:ln>
            <a:solidFill>
              <a:srgbClr val="DBDBDB"/>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 name="TextBox 3"/>
          <p:cNvSpPr txBox="1"/>
          <p:nvPr/>
        </p:nvSpPr>
        <p:spPr>
          <a:xfrm>
            <a:off x="1112837" y="4945062"/>
            <a:ext cx="3088704" cy="461665"/>
          </a:xfrm>
          <a:prstGeom prst="rect">
            <a:avLst/>
          </a:prstGeom>
          <a:noFill/>
        </p:spPr>
        <p:txBody>
          <a:bodyPr wrap="square" rtlCol="0">
            <a:spAutoFit/>
          </a:bodyPr>
          <a:lstStyle/>
          <a:p>
            <a:pPr algn="r"/>
            <a:r>
              <a:rPr lang="en-US" sz="2400" b="1" dirty="0">
                <a:solidFill>
                  <a:prstClr val="white"/>
                </a:solidFill>
              </a:rPr>
              <a:t>THE CREDENTIAL</a:t>
            </a:r>
          </a:p>
        </p:txBody>
      </p:sp>
      <p:sp>
        <p:nvSpPr>
          <p:cNvPr id="10" name="Rectangle 9"/>
          <p:cNvSpPr/>
          <p:nvPr/>
        </p:nvSpPr>
        <p:spPr>
          <a:xfrm>
            <a:off x="5705774" y="4779538"/>
            <a:ext cx="5334000" cy="830997"/>
          </a:xfrm>
          <a:prstGeom prst="rect">
            <a:avLst/>
          </a:prstGeom>
        </p:spPr>
        <p:txBody>
          <a:bodyPr wrap="square">
            <a:spAutoFit/>
          </a:bodyPr>
          <a:lstStyle/>
          <a:p>
            <a:r>
              <a:rPr lang="en-US" sz="2400" dirty="0">
                <a:solidFill>
                  <a:prstClr val="white"/>
                </a:solidFill>
                <a:cs typeface="Segoe UI Light" panose="020B0502040204020203" pitchFamily="34" charset="0"/>
              </a:rPr>
              <a:t>Public key of Passport is mapped to an user account</a:t>
            </a:r>
          </a:p>
        </p:txBody>
      </p:sp>
      <p:sp>
        <p:nvSpPr>
          <p:cNvPr id="11" name="Rectangle 10"/>
          <p:cNvSpPr/>
          <p:nvPr/>
        </p:nvSpPr>
        <p:spPr>
          <a:xfrm>
            <a:off x="5705774" y="3563153"/>
            <a:ext cx="5334000" cy="838371"/>
          </a:xfrm>
          <a:prstGeom prst="rect">
            <a:avLst/>
          </a:prstGeom>
        </p:spPr>
        <p:txBody>
          <a:bodyPr wrap="square">
            <a:spAutoFit/>
          </a:bodyPr>
          <a:lstStyle/>
          <a:p>
            <a:r>
              <a:rPr lang="en-US" sz="2400" dirty="0">
                <a:solidFill>
                  <a:prstClr val="white"/>
                </a:solidFill>
                <a:cs typeface="Segoe UI Light" panose="020B0502040204020203" pitchFamily="34" charset="0"/>
              </a:rPr>
              <a:t>Proof-able with OTP, Code and </a:t>
            </a:r>
            <a:r>
              <a:rPr lang="en-US" sz="2400" dirty="0" err="1">
                <a:solidFill>
                  <a:prstClr val="white"/>
                </a:solidFill>
                <a:cs typeface="Segoe UI Light" panose="020B0502040204020203" pitchFamily="34" charset="0"/>
              </a:rPr>
              <a:t>PhoneFactor</a:t>
            </a:r>
            <a:r>
              <a:rPr lang="en-US" sz="2400" dirty="0">
                <a:solidFill>
                  <a:prstClr val="white"/>
                </a:solidFill>
                <a:cs typeface="Segoe UI Light" panose="020B0502040204020203" pitchFamily="34" charset="0"/>
              </a:rPr>
              <a:t> …</a:t>
            </a:r>
          </a:p>
        </p:txBody>
      </p:sp>
      <p:sp>
        <p:nvSpPr>
          <p:cNvPr id="14" name="Rectangle 13"/>
          <p:cNvSpPr/>
          <p:nvPr/>
        </p:nvSpPr>
        <p:spPr>
          <a:xfrm>
            <a:off x="5705774" y="2407675"/>
            <a:ext cx="5334000" cy="830997"/>
          </a:xfrm>
          <a:prstGeom prst="rect">
            <a:avLst/>
          </a:prstGeom>
        </p:spPr>
        <p:txBody>
          <a:bodyPr wrap="square">
            <a:spAutoFit/>
          </a:bodyPr>
          <a:lstStyle/>
          <a:p>
            <a:r>
              <a:rPr lang="en-US" sz="2400" dirty="0">
                <a:solidFill>
                  <a:prstClr val="white"/>
                </a:solidFill>
                <a:cs typeface="Segoe UI Light" panose="020B0502040204020203" pitchFamily="34" charset="0"/>
              </a:rPr>
              <a:t>To the user, it’s familiar, Windows Hello or PIN user gesture</a:t>
            </a:r>
          </a:p>
        </p:txBody>
      </p:sp>
      <p:sp>
        <p:nvSpPr>
          <p:cNvPr id="15" name="Rectangle 14"/>
          <p:cNvSpPr/>
          <p:nvPr/>
        </p:nvSpPr>
        <p:spPr>
          <a:xfrm>
            <a:off x="5705774" y="1254070"/>
            <a:ext cx="5334000" cy="830997"/>
          </a:xfrm>
          <a:prstGeom prst="rect">
            <a:avLst/>
          </a:prstGeom>
        </p:spPr>
        <p:txBody>
          <a:bodyPr wrap="square">
            <a:spAutoFit/>
          </a:bodyPr>
          <a:lstStyle/>
          <a:p>
            <a:r>
              <a:rPr lang="en-US" sz="2400" dirty="0">
                <a:solidFill>
                  <a:prstClr val="white"/>
                </a:solidFill>
                <a:cs typeface="Segoe UI Light" panose="020B0502040204020203" pitchFamily="34" charset="0"/>
              </a:rPr>
              <a:t>To IT it’s familiar as it’s based on certificate or asymmetrical key pair</a:t>
            </a:r>
          </a:p>
        </p:txBody>
      </p:sp>
    </p:spTree>
    <p:custDataLst>
      <p:tags r:id="rId1"/>
    </p:custDataLst>
    <p:extLst>
      <p:ext uri="{BB962C8B-B14F-4D97-AF65-F5344CB8AC3E}">
        <p14:creationId xmlns:p14="http://schemas.microsoft.com/office/powerpoint/2010/main" val="280844829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decel="10000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750" fill="hold"/>
                                        <p:tgtEl>
                                          <p:spTgt spid="15"/>
                                        </p:tgtEl>
                                        <p:attrNameLst>
                                          <p:attrName>ppt_x</p:attrName>
                                        </p:attrNameLst>
                                      </p:cBhvr>
                                      <p:tavLst>
                                        <p:tav tm="0">
                                          <p:val>
                                            <p:strVal val="#ppt_x"/>
                                          </p:val>
                                        </p:tav>
                                        <p:tav tm="100000">
                                          <p:val>
                                            <p:strVal val="#ppt_x"/>
                                          </p:val>
                                        </p:tav>
                                      </p:tavLst>
                                    </p:anim>
                                    <p:anim calcmode="lin" valueType="num">
                                      <p:cBhvr additive="base">
                                        <p:cTn id="8" dur="750" fill="hold"/>
                                        <p:tgtEl>
                                          <p:spTgt spid="15"/>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decel="100000" fill="hold" grpId="0" nodeType="clickEffect">
                                  <p:stCondLst>
                                    <p:cond delay="0"/>
                                  </p:stCondLst>
                                  <p:childTnLst>
                                    <p:set>
                                      <p:cBhvr>
                                        <p:cTn id="12" dur="1" fill="hold">
                                          <p:stCondLst>
                                            <p:cond delay="0"/>
                                          </p:stCondLst>
                                        </p:cTn>
                                        <p:tgtEl>
                                          <p:spTgt spid="14"/>
                                        </p:tgtEl>
                                        <p:attrNameLst>
                                          <p:attrName>style.visibility</p:attrName>
                                        </p:attrNameLst>
                                      </p:cBhvr>
                                      <p:to>
                                        <p:strVal val="visible"/>
                                      </p:to>
                                    </p:set>
                                    <p:anim calcmode="lin" valueType="num">
                                      <p:cBhvr additive="base">
                                        <p:cTn id="13" dur="750" fill="hold"/>
                                        <p:tgtEl>
                                          <p:spTgt spid="14"/>
                                        </p:tgtEl>
                                        <p:attrNameLst>
                                          <p:attrName>ppt_x</p:attrName>
                                        </p:attrNameLst>
                                      </p:cBhvr>
                                      <p:tavLst>
                                        <p:tav tm="0">
                                          <p:val>
                                            <p:strVal val="#ppt_x"/>
                                          </p:val>
                                        </p:tav>
                                        <p:tav tm="100000">
                                          <p:val>
                                            <p:strVal val="#ppt_x"/>
                                          </p:val>
                                        </p:tav>
                                      </p:tavLst>
                                    </p:anim>
                                    <p:anim calcmode="lin" valueType="num">
                                      <p:cBhvr additive="base">
                                        <p:cTn id="14" dur="750" fill="hold"/>
                                        <p:tgtEl>
                                          <p:spTgt spid="14"/>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decel="100000" fill="hold" grpId="0" nodeType="clickEffect">
                                  <p:stCondLst>
                                    <p:cond delay="0"/>
                                  </p:stCondLst>
                                  <p:childTnLst>
                                    <p:set>
                                      <p:cBhvr>
                                        <p:cTn id="18" dur="1" fill="hold">
                                          <p:stCondLst>
                                            <p:cond delay="0"/>
                                          </p:stCondLst>
                                        </p:cTn>
                                        <p:tgtEl>
                                          <p:spTgt spid="11"/>
                                        </p:tgtEl>
                                        <p:attrNameLst>
                                          <p:attrName>style.visibility</p:attrName>
                                        </p:attrNameLst>
                                      </p:cBhvr>
                                      <p:to>
                                        <p:strVal val="visible"/>
                                      </p:to>
                                    </p:set>
                                    <p:anim calcmode="lin" valueType="num">
                                      <p:cBhvr additive="base">
                                        <p:cTn id="19" dur="750" fill="hold"/>
                                        <p:tgtEl>
                                          <p:spTgt spid="11"/>
                                        </p:tgtEl>
                                        <p:attrNameLst>
                                          <p:attrName>ppt_x</p:attrName>
                                        </p:attrNameLst>
                                      </p:cBhvr>
                                      <p:tavLst>
                                        <p:tav tm="0">
                                          <p:val>
                                            <p:strVal val="#ppt_x"/>
                                          </p:val>
                                        </p:tav>
                                        <p:tav tm="100000">
                                          <p:val>
                                            <p:strVal val="#ppt_x"/>
                                          </p:val>
                                        </p:tav>
                                      </p:tavLst>
                                    </p:anim>
                                    <p:anim calcmode="lin" valueType="num">
                                      <p:cBhvr additive="base">
                                        <p:cTn id="20" dur="750" fill="hold"/>
                                        <p:tgtEl>
                                          <p:spTgt spid="11"/>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decel="100000" fill="hold" grpId="0" nodeType="clickEffect">
                                  <p:stCondLst>
                                    <p:cond delay="0"/>
                                  </p:stCondLst>
                                  <p:childTnLst>
                                    <p:set>
                                      <p:cBhvr>
                                        <p:cTn id="24" dur="1" fill="hold">
                                          <p:stCondLst>
                                            <p:cond delay="0"/>
                                          </p:stCondLst>
                                        </p:cTn>
                                        <p:tgtEl>
                                          <p:spTgt spid="10"/>
                                        </p:tgtEl>
                                        <p:attrNameLst>
                                          <p:attrName>style.visibility</p:attrName>
                                        </p:attrNameLst>
                                      </p:cBhvr>
                                      <p:to>
                                        <p:strVal val="visible"/>
                                      </p:to>
                                    </p:set>
                                    <p:anim calcmode="lin" valueType="num">
                                      <p:cBhvr additive="base">
                                        <p:cTn id="25" dur="750" fill="hold"/>
                                        <p:tgtEl>
                                          <p:spTgt spid="10"/>
                                        </p:tgtEl>
                                        <p:attrNameLst>
                                          <p:attrName>ppt_x</p:attrName>
                                        </p:attrNameLst>
                                      </p:cBhvr>
                                      <p:tavLst>
                                        <p:tav tm="0">
                                          <p:val>
                                            <p:strVal val="#ppt_x"/>
                                          </p:val>
                                        </p:tav>
                                        <p:tav tm="100000">
                                          <p:val>
                                            <p:strVal val="#ppt_x"/>
                                          </p:val>
                                        </p:tav>
                                      </p:tavLst>
                                    </p:anim>
                                    <p:anim calcmode="lin" valueType="num">
                                      <p:cBhvr additive="base">
                                        <p:cTn id="26" dur="750" fill="hold"/>
                                        <p:tgtEl>
                                          <p:spTgt spid="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1" grpId="0"/>
      <p:bldP spid="14" grpId="0"/>
      <p:bldP spid="15"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976558" y="1834661"/>
            <a:ext cx="3224983" cy="332399"/>
          </a:xfrm>
          <a:prstGeom prst="rect">
            <a:avLst/>
          </a:prstGeom>
        </p:spPr>
        <p:txBody>
          <a:bodyPr vert="horz" wrap="square" lIns="0" tIns="0" rIns="0" bIns="0" rtlCol="0" anchor="b">
            <a:spAutoFit/>
          </a:bodyPr>
          <a:lstStyle>
            <a:lvl1pPr algn="l" defTabSz="914277" rtl="0" eaLnBrk="1" latinLnBrk="0" hangingPunct="1">
              <a:lnSpc>
                <a:spcPct val="90000"/>
              </a:lnSpc>
              <a:spcBef>
                <a:spcPct val="0"/>
              </a:spcBef>
              <a:buNone/>
              <a:defRPr lang="en-US" sz="5400" b="0" kern="1200" cap="none" spc="-100" baseline="0" dirty="0">
                <a:ln w="3175">
                  <a:noFill/>
                </a:ln>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effectLst/>
                <a:latin typeface="Segoe UI Light" pitchFamily="34" charset="0"/>
                <a:ea typeface="+mn-ea"/>
                <a:cs typeface="+mn-cs"/>
              </a:defRPr>
            </a:lvl1pPr>
          </a:lstStyle>
          <a:p>
            <a:pPr algn="r"/>
            <a:r>
              <a:rPr sz="2400" dirty="0" smtClean="0">
                <a:solidFill>
                  <a:srgbClr val="FFFFFF">
                    <a:lumMod val="85000"/>
                  </a:srgbClr>
                </a:solidFill>
                <a:latin typeface="Segoe UI"/>
              </a:rPr>
              <a:t>using</a:t>
            </a:r>
            <a:endParaRPr sz="3600" dirty="0">
              <a:solidFill>
                <a:srgbClr val="FFFFFF">
                  <a:lumMod val="85000"/>
                </a:srgbClr>
              </a:solidFill>
              <a:latin typeface="Segoe UI"/>
            </a:endParaRPr>
          </a:p>
        </p:txBody>
      </p:sp>
      <p:sp>
        <p:nvSpPr>
          <p:cNvPr id="47" name="Title 1"/>
          <p:cNvSpPr txBox="1">
            <a:spLocks/>
          </p:cNvSpPr>
          <p:nvPr/>
        </p:nvSpPr>
        <p:spPr>
          <a:xfrm>
            <a:off x="198437" y="2441519"/>
            <a:ext cx="4022883" cy="1495794"/>
          </a:xfrm>
          <a:prstGeom prst="rect">
            <a:avLst/>
          </a:prstGeom>
        </p:spPr>
        <p:txBody>
          <a:bodyPr vert="horz" wrap="square" lIns="0" tIns="0" rIns="0" bIns="0" rtlCol="0" anchor="t">
            <a:spAutoFit/>
          </a:bodyPr>
          <a:lstStyle>
            <a:lvl1pPr algn="l" defTabSz="914277" rtl="0" eaLnBrk="1" latinLnBrk="0" hangingPunct="1">
              <a:lnSpc>
                <a:spcPct val="90000"/>
              </a:lnSpc>
              <a:spcBef>
                <a:spcPct val="0"/>
              </a:spcBef>
              <a:buNone/>
              <a:defRPr lang="en-US" sz="5400" b="0" kern="1200" cap="none" spc="-100" baseline="0" dirty="0">
                <a:ln w="3175">
                  <a:noFill/>
                </a:ln>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effectLst/>
                <a:latin typeface="Segoe UI Light" pitchFamily="34" charset="0"/>
                <a:ea typeface="+mn-ea"/>
                <a:cs typeface="+mn-cs"/>
              </a:defRPr>
            </a:lvl1pPr>
          </a:lstStyle>
          <a:p>
            <a:pPr algn="r">
              <a:spcBef>
                <a:spcPts val="450"/>
              </a:spcBef>
            </a:pPr>
            <a:r>
              <a:rPr sz="3600">
                <a:solidFill>
                  <a:srgbClr val="00BCF2"/>
                </a:solidFill>
                <a:latin typeface="Segoe UI Light"/>
              </a:rPr>
              <a:t> </a:t>
            </a:r>
            <a:r>
              <a:rPr sz="3600" smtClean="0">
                <a:solidFill>
                  <a:srgbClr val="00BCF2"/>
                </a:solidFill>
                <a:latin typeface="Segoe UI Light"/>
              </a:rPr>
              <a:t> </a:t>
            </a:r>
            <a:r>
              <a:rPr b="1" smtClean="0">
                <a:solidFill>
                  <a:srgbClr val="00BCF2"/>
                </a:solidFill>
                <a:latin typeface="Segoe UI Light"/>
              </a:rPr>
              <a:t>Microsoft "Passport"</a:t>
            </a:r>
            <a:endParaRPr sz="6000" b="1">
              <a:solidFill>
                <a:srgbClr val="00BCF2"/>
              </a:solidFill>
              <a:latin typeface="Segoe UI Light"/>
            </a:endParaRPr>
          </a:p>
        </p:txBody>
      </p:sp>
      <p:cxnSp>
        <p:nvCxnSpPr>
          <p:cNvPr id="9" name="Straight Connector 8"/>
          <p:cNvCxnSpPr/>
          <p:nvPr/>
        </p:nvCxnSpPr>
        <p:spPr>
          <a:xfrm>
            <a:off x="4973185" y="891222"/>
            <a:ext cx="0" cy="5212080"/>
          </a:xfrm>
          <a:prstGeom prst="line">
            <a:avLst/>
          </a:prstGeom>
          <a:ln>
            <a:solidFill>
              <a:srgbClr val="DBDBDB"/>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 name="TextBox 3"/>
          <p:cNvSpPr txBox="1"/>
          <p:nvPr/>
        </p:nvSpPr>
        <p:spPr>
          <a:xfrm>
            <a:off x="1112837" y="4945062"/>
            <a:ext cx="3088704" cy="461665"/>
          </a:xfrm>
          <a:prstGeom prst="rect">
            <a:avLst/>
          </a:prstGeom>
          <a:noFill/>
        </p:spPr>
        <p:txBody>
          <a:bodyPr wrap="square" rtlCol="0">
            <a:spAutoFit/>
          </a:bodyPr>
          <a:lstStyle/>
          <a:p>
            <a:pPr algn="r"/>
            <a:r>
              <a:rPr lang="en-US" sz="2400" b="1" dirty="0">
                <a:solidFill>
                  <a:prstClr val="white"/>
                </a:solidFill>
              </a:rPr>
              <a:t>THE </a:t>
            </a:r>
            <a:r>
              <a:rPr lang="en-US" sz="2400" b="1" dirty="0" smtClean="0">
                <a:solidFill>
                  <a:prstClr val="white"/>
                </a:solidFill>
              </a:rPr>
              <a:t>USAGE</a:t>
            </a:r>
            <a:endParaRPr lang="en-US" sz="2400" b="1" dirty="0">
              <a:solidFill>
                <a:prstClr val="white"/>
              </a:solidFill>
            </a:endParaRPr>
          </a:p>
        </p:txBody>
      </p:sp>
      <p:sp>
        <p:nvSpPr>
          <p:cNvPr id="12" name="TextBox 11"/>
          <p:cNvSpPr txBox="1"/>
          <p:nvPr/>
        </p:nvSpPr>
        <p:spPr>
          <a:xfrm>
            <a:off x="5680677" y="1484547"/>
            <a:ext cx="6360587" cy="830997"/>
          </a:xfrm>
          <a:prstGeom prst="rect">
            <a:avLst/>
          </a:prstGeom>
        </p:spPr>
        <p:txBody>
          <a:bodyPr wrap="square">
            <a:spAutoFit/>
          </a:bodyPr>
          <a:lstStyle>
            <a:defPPr>
              <a:defRPr lang="en-US"/>
            </a:defPPr>
            <a:lvl1pPr>
              <a:defRPr sz="2400">
                <a:solidFill>
                  <a:prstClr val="white"/>
                </a:solidFill>
                <a:cs typeface="Segoe UI Light" panose="020B0502040204020203" pitchFamily="34" charset="0"/>
              </a:defRPr>
            </a:lvl1pPr>
          </a:lstStyle>
          <a:p>
            <a:r>
              <a:rPr lang="en-US" dirty="0"/>
              <a:t>Keys are ideally generated in hardware (TPM) first, software as a last resort</a:t>
            </a:r>
          </a:p>
        </p:txBody>
      </p:sp>
      <p:sp>
        <p:nvSpPr>
          <p:cNvPr id="13" name="TextBox 12"/>
          <p:cNvSpPr txBox="1"/>
          <p:nvPr/>
        </p:nvSpPr>
        <p:spPr>
          <a:xfrm>
            <a:off x="5680677" y="2745119"/>
            <a:ext cx="6360587" cy="461665"/>
          </a:xfrm>
          <a:prstGeom prst="rect">
            <a:avLst/>
          </a:prstGeom>
        </p:spPr>
        <p:txBody>
          <a:bodyPr wrap="square">
            <a:spAutoFit/>
          </a:bodyPr>
          <a:lstStyle>
            <a:defPPr>
              <a:defRPr lang="en-US"/>
            </a:defPPr>
            <a:lvl1pPr>
              <a:defRPr sz="2400">
                <a:solidFill>
                  <a:prstClr val="white"/>
                </a:solidFill>
                <a:cs typeface="Segoe UI Light" panose="020B0502040204020203" pitchFamily="34" charset="0"/>
              </a:defRPr>
            </a:lvl1pPr>
          </a:lstStyle>
          <a:p>
            <a:r>
              <a:rPr lang="en-US" dirty="0"/>
              <a:t>Hardware-bound keys can be attested</a:t>
            </a:r>
          </a:p>
        </p:txBody>
      </p:sp>
      <p:sp>
        <p:nvSpPr>
          <p:cNvPr id="16" name="TextBox 15"/>
          <p:cNvSpPr txBox="1"/>
          <p:nvPr/>
        </p:nvSpPr>
        <p:spPr>
          <a:xfrm>
            <a:off x="5680677" y="4896931"/>
            <a:ext cx="6360587" cy="830997"/>
          </a:xfrm>
          <a:prstGeom prst="rect">
            <a:avLst/>
          </a:prstGeom>
        </p:spPr>
        <p:txBody>
          <a:bodyPr wrap="square">
            <a:spAutoFit/>
          </a:bodyPr>
          <a:lstStyle>
            <a:defPPr>
              <a:defRPr lang="en-US"/>
            </a:defPPr>
            <a:lvl1pPr>
              <a:defRPr sz="2400">
                <a:solidFill>
                  <a:prstClr val="white"/>
                </a:solidFill>
                <a:cs typeface="Segoe UI Light" panose="020B0502040204020203" pitchFamily="34" charset="0"/>
              </a:defRPr>
            </a:lvl1pPr>
          </a:lstStyle>
          <a:p>
            <a:r>
              <a:rPr lang="en-US" dirty="0"/>
              <a:t>Browser support via JS/</a:t>
            </a:r>
            <a:r>
              <a:rPr lang="en-US" dirty="0" err="1"/>
              <a:t>Webcrypto</a:t>
            </a:r>
            <a:r>
              <a:rPr lang="en-US" dirty="0"/>
              <a:t> apis  to create and use Passport for users</a:t>
            </a:r>
          </a:p>
        </p:txBody>
      </p:sp>
      <p:sp>
        <p:nvSpPr>
          <p:cNvPr id="17" name="TextBox 16"/>
          <p:cNvSpPr txBox="1"/>
          <p:nvPr/>
        </p:nvSpPr>
        <p:spPr>
          <a:xfrm>
            <a:off x="5680677" y="3636359"/>
            <a:ext cx="6360587" cy="830997"/>
          </a:xfrm>
          <a:prstGeom prst="rect">
            <a:avLst/>
          </a:prstGeom>
        </p:spPr>
        <p:txBody>
          <a:bodyPr wrap="square">
            <a:spAutoFit/>
          </a:bodyPr>
          <a:lstStyle>
            <a:defPPr>
              <a:defRPr lang="en-US"/>
            </a:defPPr>
            <a:lvl1pPr>
              <a:defRPr sz="2400">
                <a:solidFill>
                  <a:prstClr val="white"/>
                </a:solidFill>
                <a:cs typeface="Segoe UI Light" panose="020B0502040204020203" pitchFamily="34" charset="0"/>
              </a:defRPr>
            </a:lvl1pPr>
          </a:lstStyle>
          <a:p>
            <a:r>
              <a:rPr lang="en-US" dirty="0"/>
              <a:t>Single “unlock gesture” provides access to multiple credentials origin isolated</a:t>
            </a:r>
          </a:p>
        </p:txBody>
      </p:sp>
    </p:spTree>
    <p:custDataLst>
      <p:tags r:id="rId1"/>
    </p:custDataLst>
    <p:extLst>
      <p:ext uri="{BB962C8B-B14F-4D97-AF65-F5344CB8AC3E}">
        <p14:creationId xmlns:p14="http://schemas.microsoft.com/office/powerpoint/2010/main" val="26036891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decel="10000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750" fill="hold"/>
                                        <p:tgtEl>
                                          <p:spTgt spid="12"/>
                                        </p:tgtEl>
                                        <p:attrNameLst>
                                          <p:attrName>ppt_x</p:attrName>
                                        </p:attrNameLst>
                                      </p:cBhvr>
                                      <p:tavLst>
                                        <p:tav tm="0">
                                          <p:val>
                                            <p:strVal val="#ppt_x"/>
                                          </p:val>
                                        </p:tav>
                                        <p:tav tm="100000">
                                          <p:val>
                                            <p:strVal val="#ppt_x"/>
                                          </p:val>
                                        </p:tav>
                                      </p:tavLst>
                                    </p:anim>
                                    <p:anim calcmode="lin" valueType="num">
                                      <p:cBhvr additive="base">
                                        <p:cTn id="8" dur="750" fill="hold"/>
                                        <p:tgtEl>
                                          <p:spTgt spid="12"/>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decel="100000" fill="hold" grpId="0" nodeType="clickEffect">
                                  <p:stCondLst>
                                    <p:cond delay="0"/>
                                  </p:stCondLst>
                                  <p:childTnLst>
                                    <p:set>
                                      <p:cBhvr>
                                        <p:cTn id="12" dur="1" fill="hold">
                                          <p:stCondLst>
                                            <p:cond delay="0"/>
                                          </p:stCondLst>
                                        </p:cTn>
                                        <p:tgtEl>
                                          <p:spTgt spid="13"/>
                                        </p:tgtEl>
                                        <p:attrNameLst>
                                          <p:attrName>style.visibility</p:attrName>
                                        </p:attrNameLst>
                                      </p:cBhvr>
                                      <p:to>
                                        <p:strVal val="visible"/>
                                      </p:to>
                                    </p:set>
                                    <p:anim calcmode="lin" valueType="num">
                                      <p:cBhvr additive="base">
                                        <p:cTn id="13" dur="750" fill="hold"/>
                                        <p:tgtEl>
                                          <p:spTgt spid="13"/>
                                        </p:tgtEl>
                                        <p:attrNameLst>
                                          <p:attrName>ppt_x</p:attrName>
                                        </p:attrNameLst>
                                      </p:cBhvr>
                                      <p:tavLst>
                                        <p:tav tm="0">
                                          <p:val>
                                            <p:strVal val="#ppt_x"/>
                                          </p:val>
                                        </p:tav>
                                        <p:tav tm="100000">
                                          <p:val>
                                            <p:strVal val="#ppt_x"/>
                                          </p:val>
                                        </p:tav>
                                      </p:tavLst>
                                    </p:anim>
                                    <p:anim calcmode="lin" valueType="num">
                                      <p:cBhvr additive="base">
                                        <p:cTn id="14" dur="750" fill="hold"/>
                                        <p:tgtEl>
                                          <p:spTgt spid="13"/>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decel="100000" fill="hold" grpId="0" nodeType="clickEffect">
                                  <p:stCondLst>
                                    <p:cond delay="0"/>
                                  </p:stCondLst>
                                  <p:childTnLst>
                                    <p:set>
                                      <p:cBhvr>
                                        <p:cTn id="18" dur="1" fill="hold">
                                          <p:stCondLst>
                                            <p:cond delay="0"/>
                                          </p:stCondLst>
                                        </p:cTn>
                                        <p:tgtEl>
                                          <p:spTgt spid="17"/>
                                        </p:tgtEl>
                                        <p:attrNameLst>
                                          <p:attrName>style.visibility</p:attrName>
                                        </p:attrNameLst>
                                      </p:cBhvr>
                                      <p:to>
                                        <p:strVal val="visible"/>
                                      </p:to>
                                    </p:set>
                                    <p:anim calcmode="lin" valueType="num">
                                      <p:cBhvr additive="base">
                                        <p:cTn id="19" dur="750" fill="hold"/>
                                        <p:tgtEl>
                                          <p:spTgt spid="17"/>
                                        </p:tgtEl>
                                        <p:attrNameLst>
                                          <p:attrName>ppt_x</p:attrName>
                                        </p:attrNameLst>
                                      </p:cBhvr>
                                      <p:tavLst>
                                        <p:tav tm="0">
                                          <p:val>
                                            <p:strVal val="#ppt_x"/>
                                          </p:val>
                                        </p:tav>
                                        <p:tav tm="100000">
                                          <p:val>
                                            <p:strVal val="#ppt_x"/>
                                          </p:val>
                                        </p:tav>
                                      </p:tavLst>
                                    </p:anim>
                                    <p:anim calcmode="lin" valueType="num">
                                      <p:cBhvr additive="base">
                                        <p:cTn id="20" dur="750" fill="hold"/>
                                        <p:tgtEl>
                                          <p:spTgt spid="17"/>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decel="100000" fill="hold" grpId="0" nodeType="clickEffect">
                                  <p:stCondLst>
                                    <p:cond delay="0"/>
                                  </p:stCondLst>
                                  <p:childTnLst>
                                    <p:set>
                                      <p:cBhvr>
                                        <p:cTn id="24" dur="1" fill="hold">
                                          <p:stCondLst>
                                            <p:cond delay="0"/>
                                          </p:stCondLst>
                                        </p:cTn>
                                        <p:tgtEl>
                                          <p:spTgt spid="16"/>
                                        </p:tgtEl>
                                        <p:attrNameLst>
                                          <p:attrName>style.visibility</p:attrName>
                                        </p:attrNameLst>
                                      </p:cBhvr>
                                      <p:to>
                                        <p:strVal val="visible"/>
                                      </p:to>
                                    </p:set>
                                    <p:anim calcmode="lin" valueType="num">
                                      <p:cBhvr additive="base">
                                        <p:cTn id="25" dur="750" fill="hold"/>
                                        <p:tgtEl>
                                          <p:spTgt spid="16"/>
                                        </p:tgtEl>
                                        <p:attrNameLst>
                                          <p:attrName>ppt_x</p:attrName>
                                        </p:attrNameLst>
                                      </p:cBhvr>
                                      <p:tavLst>
                                        <p:tav tm="0">
                                          <p:val>
                                            <p:strVal val="#ppt_x"/>
                                          </p:val>
                                        </p:tav>
                                        <p:tav tm="100000">
                                          <p:val>
                                            <p:strVal val="#ppt_x"/>
                                          </p:val>
                                        </p:tav>
                                      </p:tavLst>
                                    </p:anim>
                                    <p:anim calcmode="lin" valueType="num">
                                      <p:cBhvr additive="base">
                                        <p:cTn id="26" dur="750" fill="hold"/>
                                        <p:tgtEl>
                                          <p:spTgt spid="1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3" grpId="0"/>
      <p:bldP spid="16" grpId="0"/>
      <p:bldP spid="17" grpId="0"/>
    </p:bld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5" name="Rounded Rectangle 74"/>
          <p:cNvSpPr/>
          <p:nvPr/>
        </p:nvSpPr>
        <p:spPr bwMode="auto">
          <a:xfrm>
            <a:off x="5427856" y="2774974"/>
            <a:ext cx="3686222" cy="790705"/>
          </a:xfrm>
          <a:prstGeom prst="roundRect">
            <a:avLst>
              <a:gd name="adj" fmla="val 6263"/>
            </a:avLst>
          </a:prstGeom>
          <a:solidFill>
            <a:schemeClr val="accent3">
              <a:lumMod val="50000"/>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02856" rIns="0" bIns="0" numCol="1" spcCol="0" rtlCol="0" fromWordArt="0" anchor="t" anchorCtr="0" forceAA="0" compatLnSpc="1">
            <a:prstTxWarp prst="textNoShape">
              <a:avLst/>
            </a:prstTxWarp>
            <a:noAutofit/>
          </a:bodyPr>
          <a:lstStyle/>
          <a:p>
            <a:pPr algn="ctr" defTabSz="699291" fontAlgn="base">
              <a:lnSpc>
                <a:spcPct val="90000"/>
              </a:lnSpc>
              <a:spcBef>
                <a:spcPct val="0"/>
              </a:spcBef>
              <a:spcAft>
                <a:spcPct val="0"/>
              </a:spcAft>
            </a:pPr>
            <a:endParaRPr lang="en-US" sz="1049" dirty="0" err="1">
              <a:gradFill>
                <a:gsLst>
                  <a:gs pos="0">
                    <a:srgbClr val="FFFFFF"/>
                  </a:gs>
                  <a:gs pos="100000">
                    <a:srgbClr val="FFFFFF"/>
                  </a:gs>
                </a:gsLst>
                <a:lin ang="5400000" scaled="0"/>
              </a:gradFill>
              <a:ea typeface="Segoe UI" pitchFamily="34" charset="0"/>
              <a:cs typeface="Segoe UI" pitchFamily="34" charset="0"/>
            </a:endParaRPr>
          </a:p>
        </p:txBody>
      </p:sp>
      <p:sp>
        <p:nvSpPr>
          <p:cNvPr id="77" name="Rounded Rectangle 76"/>
          <p:cNvSpPr/>
          <p:nvPr/>
        </p:nvSpPr>
        <p:spPr bwMode="auto">
          <a:xfrm>
            <a:off x="3659092" y="2774974"/>
            <a:ext cx="1164437" cy="790705"/>
          </a:xfrm>
          <a:prstGeom prst="roundRect">
            <a:avLst>
              <a:gd name="adj" fmla="val 6263"/>
            </a:avLst>
          </a:prstGeom>
          <a:solidFill>
            <a:schemeClr val="accent3">
              <a:lumMod val="50000"/>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02856" rIns="0" bIns="0" numCol="1" spcCol="0" rtlCol="0" fromWordArt="0" anchor="t" anchorCtr="0" forceAA="0" compatLnSpc="1">
            <a:prstTxWarp prst="textNoShape">
              <a:avLst/>
            </a:prstTxWarp>
            <a:noAutofit/>
          </a:bodyPr>
          <a:lstStyle/>
          <a:p>
            <a:pPr algn="ctr" defTabSz="699291" fontAlgn="base">
              <a:lnSpc>
                <a:spcPct val="90000"/>
              </a:lnSpc>
              <a:spcBef>
                <a:spcPct val="0"/>
              </a:spcBef>
              <a:spcAft>
                <a:spcPct val="0"/>
              </a:spcAft>
            </a:pPr>
            <a:endParaRPr lang="en-US" sz="1049"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p:cNvSpPr>
            <a:spLocks noGrp="1"/>
          </p:cNvSpPr>
          <p:nvPr>
            <p:ph type="title"/>
          </p:nvPr>
        </p:nvSpPr>
        <p:spPr>
          <a:xfrm>
            <a:off x="0" y="0"/>
            <a:ext cx="12436475" cy="1193820"/>
          </a:xfrm>
          <a:solidFill>
            <a:srgbClr val="505050"/>
          </a:solidFill>
        </p:spPr>
        <p:txBody>
          <a:bodyPr/>
          <a:lstStyle/>
          <a:p>
            <a:r>
              <a:rPr lang="en-US" b="1" spc="-225" dirty="0" smtClean="0">
                <a:solidFill>
                  <a:srgbClr val="00BDF3"/>
                </a:solidFill>
              </a:rPr>
              <a:t>    </a:t>
            </a:r>
            <a:r>
              <a:rPr lang="en-US" sz="4800" spc="-225" dirty="0" smtClean="0">
                <a:solidFill>
                  <a:schemeClr val="bg1"/>
                </a:solidFill>
              </a:rPr>
              <a:t>Authentication </a:t>
            </a:r>
            <a:r>
              <a:rPr lang="en-US" sz="4800" spc="-225" dirty="0">
                <a:solidFill>
                  <a:schemeClr val="bg1"/>
                </a:solidFill>
              </a:rPr>
              <a:t>For Orgs &amp; Consumers</a:t>
            </a:r>
            <a:r>
              <a:rPr lang="en-US" spc="-225" dirty="0">
                <a:solidFill>
                  <a:schemeClr val="bg1"/>
                </a:solidFill>
              </a:rPr>
              <a:t> </a:t>
            </a:r>
          </a:p>
        </p:txBody>
      </p:sp>
      <p:grpSp>
        <p:nvGrpSpPr>
          <p:cNvPr id="5" name="Group 4"/>
          <p:cNvGrpSpPr/>
          <p:nvPr/>
        </p:nvGrpSpPr>
        <p:grpSpPr>
          <a:xfrm>
            <a:off x="9127111" y="2595129"/>
            <a:ext cx="1422910" cy="1391213"/>
            <a:chOff x="6537989" y="1829169"/>
            <a:chExt cx="1897482" cy="1855213"/>
          </a:xfrm>
        </p:grpSpPr>
        <p:grpSp>
          <p:nvGrpSpPr>
            <p:cNvPr id="31" name="Group 30"/>
            <p:cNvGrpSpPr>
              <a:grpSpLocks noChangeAspect="1"/>
            </p:cNvGrpSpPr>
            <p:nvPr/>
          </p:nvGrpSpPr>
          <p:grpSpPr>
            <a:xfrm>
              <a:off x="6755325" y="1829169"/>
              <a:ext cx="1680146" cy="688162"/>
              <a:chOff x="9123393" y="1688622"/>
              <a:chExt cx="2288279" cy="937244"/>
            </a:xfrm>
          </p:grpSpPr>
          <p:sp>
            <p:nvSpPr>
              <p:cNvPr id="37" name="Freeform 11"/>
              <p:cNvSpPr>
                <a:spLocks noEditPoints="1"/>
              </p:cNvSpPr>
              <p:nvPr/>
            </p:nvSpPr>
            <p:spPr bwMode="auto">
              <a:xfrm>
                <a:off x="9123393" y="1688622"/>
                <a:ext cx="1739631" cy="544500"/>
              </a:xfrm>
              <a:custGeom>
                <a:avLst/>
                <a:gdLst>
                  <a:gd name="T0" fmla="*/ 640 w 666"/>
                  <a:gd name="T1" fmla="*/ 0 h 209"/>
                  <a:gd name="T2" fmla="*/ 27 w 666"/>
                  <a:gd name="T3" fmla="*/ 0 h 209"/>
                  <a:gd name="T4" fmla="*/ 0 w 666"/>
                  <a:gd name="T5" fmla="*/ 27 h 209"/>
                  <a:gd name="T6" fmla="*/ 0 w 666"/>
                  <a:gd name="T7" fmla="*/ 183 h 209"/>
                  <a:gd name="T8" fmla="*/ 27 w 666"/>
                  <a:gd name="T9" fmla="*/ 209 h 209"/>
                  <a:gd name="T10" fmla="*/ 640 w 666"/>
                  <a:gd name="T11" fmla="*/ 209 h 209"/>
                  <a:gd name="T12" fmla="*/ 666 w 666"/>
                  <a:gd name="T13" fmla="*/ 183 h 209"/>
                  <a:gd name="T14" fmla="*/ 666 w 666"/>
                  <a:gd name="T15" fmla="*/ 27 h 209"/>
                  <a:gd name="T16" fmla="*/ 640 w 666"/>
                  <a:gd name="T17" fmla="*/ 0 h 209"/>
                  <a:gd name="T18" fmla="*/ 57 w 666"/>
                  <a:gd name="T19" fmla="*/ 182 h 209"/>
                  <a:gd name="T20" fmla="*/ 34 w 666"/>
                  <a:gd name="T21" fmla="*/ 158 h 209"/>
                  <a:gd name="T22" fmla="*/ 57 w 666"/>
                  <a:gd name="T23" fmla="*/ 135 h 209"/>
                  <a:gd name="T24" fmla="*/ 81 w 666"/>
                  <a:gd name="T25" fmla="*/ 158 h 209"/>
                  <a:gd name="T26" fmla="*/ 57 w 666"/>
                  <a:gd name="T27" fmla="*/ 182 h 209"/>
                  <a:gd name="T28" fmla="*/ 617 w 666"/>
                  <a:gd name="T29" fmla="*/ 172 h 209"/>
                  <a:gd name="T30" fmla="*/ 483 w 666"/>
                  <a:gd name="T31" fmla="*/ 172 h 209"/>
                  <a:gd name="T32" fmla="*/ 476 w 666"/>
                  <a:gd name="T33" fmla="*/ 165 h 209"/>
                  <a:gd name="T34" fmla="*/ 483 w 666"/>
                  <a:gd name="T35" fmla="*/ 158 h 209"/>
                  <a:gd name="T36" fmla="*/ 617 w 666"/>
                  <a:gd name="T37" fmla="*/ 158 h 209"/>
                  <a:gd name="T38" fmla="*/ 624 w 666"/>
                  <a:gd name="T39" fmla="*/ 165 h 209"/>
                  <a:gd name="T40" fmla="*/ 617 w 666"/>
                  <a:gd name="T41" fmla="*/ 172 h 209"/>
                  <a:gd name="T42" fmla="*/ 617 w 666"/>
                  <a:gd name="T43" fmla="*/ 146 h 209"/>
                  <a:gd name="T44" fmla="*/ 483 w 666"/>
                  <a:gd name="T45" fmla="*/ 146 h 209"/>
                  <a:gd name="T46" fmla="*/ 476 w 666"/>
                  <a:gd name="T47" fmla="*/ 139 h 209"/>
                  <a:gd name="T48" fmla="*/ 483 w 666"/>
                  <a:gd name="T49" fmla="*/ 132 h 209"/>
                  <a:gd name="T50" fmla="*/ 617 w 666"/>
                  <a:gd name="T51" fmla="*/ 132 h 209"/>
                  <a:gd name="T52" fmla="*/ 624 w 666"/>
                  <a:gd name="T53" fmla="*/ 139 h 209"/>
                  <a:gd name="T54" fmla="*/ 617 w 666"/>
                  <a:gd name="T55" fmla="*/ 146 h 209"/>
                  <a:gd name="T56" fmla="*/ 617 w 666"/>
                  <a:gd name="T57" fmla="*/ 120 h 209"/>
                  <a:gd name="T58" fmla="*/ 483 w 666"/>
                  <a:gd name="T59" fmla="*/ 120 h 209"/>
                  <a:gd name="T60" fmla="*/ 476 w 666"/>
                  <a:gd name="T61" fmla="*/ 113 h 209"/>
                  <a:gd name="T62" fmla="*/ 483 w 666"/>
                  <a:gd name="T63" fmla="*/ 106 h 209"/>
                  <a:gd name="T64" fmla="*/ 617 w 666"/>
                  <a:gd name="T65" fmla="*/ 106 h 209"/>
                  <a:gd name="T66" fmla="*/ 624 w 666"/>
                  <a:gd name="T67" fmla="*/ 113 h 209"/>
                  <a:gd name="T68" fmla="*/ 617 w 666"/>
                  <a:gd name="T69" fmla="*/ 120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66" h="209">
                    <a:moveTo>
                      <a:pt x="640" y="0"/>
                    </a:moveTo>
                    <a:lnTo>
                      <a:pt x="27" y="0"/>
                    </a:lnTo>
                    <a:cubicBezTo>
                      <a:pt x="12" y="0"/>
                      <a:pt x="0" y="12"/>
                      <a:pt x="0" y="27"/>
                    </a:cubicBezTo>
                    <a:lnTo>
                      <a:pt x="0" y="183"/>
                    </a:lnTo>
                    <a:cubicBezTo>
                      <a:pt x="0" y="197"/>
                      <a:pt x="12" y="209"/>
                      <a:pt x="27" y="209"/>
                    </a:cubicBezTo>
                    <a:lnTo>
                      <a:pt x="640" y="209"/>
                    </a:lnTo>
                    <a:cubicBezTo>
                      <a:pt x="655" y="209"/>
                      <a:pt x="666" y="197"/>
                      <a:pt x="666" y="183"/>
                    </a:cubicBezTo>
                    <a:lnTo>
                      <a:pt x="666" y="27"/>
                    </a:lnTo>
                    <a:cubicBezTo>
                      <a:pt x="666" y="12"/>
                      <a:pt x="655" y="0"/>
                      <a:pt x="640" y="0"/>
                    </a:cubicBezTo>
                    <a:close/>
                    <a:moveTo>
                      <a:pt x="57" y="182"/>
                    </a:moveTo>
                    <a:cubicBezTo>
                      <a:pt x="44" y="182"/>
                      <a:pt x="34" y="171"/>
                      <a:pt x="34" y="158"/>
                    </a:cubicBezTo>
                    <a:cubicBezTo>
                      <a:pt x="34" y="145"/>
                      <a:pt x="44" y="135"/>
                      <a:pt x="57" y="135"/>
                    </a:cubicBezTo>
                    <a:cubicBezTo>
                      <a:pt x="70" y="135"/>
                      <a:pt x="81" y="145"/>
                      <a:pt x="81" y="158"/>
                    </a:cubicBezTo>
                    <a:cubicBezTo>
                      <a:pt x="81" y="171"/>
                      <a:pt x="70" y="182"/>
                      <a:pt x="57" y="182"/>
                    </a:cubicBezTo>
                    <a:close/>
                    <a:moveTo>
                      <a:pt x="617" y="172"/>
                    </a:moveTo>
                    <a:lnTo>
                      <a:pt x="483" y="172"/>
                    </a:lnTo>
                    <a:cubicBezTo>
                      <a:pt x="479" y="172"/>
                      <a:pt x="476" y="169"/>
                      <a:pt x="476" y="165"/>
                    </a:cubicBezTo>
                    <a:cubicBezTo>
                      <a:pt x="476" y="161"/>
                      <a:pt x="479" y="158"/>
                      <a:pt x="483" y="158"/>
                    </a:cubicBezTo>
                    <a:lnTo>
                      <a:pt x="617" y="158"/>
                    </a:lnTo>
                    <a:cubicBezTo>
                      <a:pt x="621" y="158"/>
                      <a:pt x="624" y="161"/>
                      <a:pt x="624" y="165"/>
                    </a:cubicBezTo>
                    <a:cubicBezTo>
                      <a:pt x="624" y="169"/>
                      <a:pt x="621" y="172"/>
                      <a:pt x="617" y="172"/>
                    </a:cubicBezTo>
                    <a:close/>
                    <a:moveTo>
                      <a:pt x="617" y="146"/>
                    </a:moveTo>
                    <a:lnTo>
                      <a:pt x="483" y="146"/>
                    </a:lnTo>
                    <a:cubicBezTo>
                      <a:pt x="479" y="146"/>
                      <a:pt x="476" y="143"/>
                      <a:pt x="476" y="139"/>
                    </a:cubicBezTo>
                    <a:cubicBezTo>
                      <a:pt x="476" y="135"/>
                      <a:pt x="479" y="132"/>
                      <a:pt x="483" y="132"/>
                    </a:cubicBezTo>
                    <a:lnTo>
                      <a:pt x="617" y="132"/>
                    </a:lnTo>
                    <a:cubicBezTo>
                      <a:pt x="621" y="132"/>
                      <a:pt x="624" y="135"/>
                      <a:pt x="624" y="139"/>
                    </a:cubicBezTo>
                    <a:cubicBezTo>
                      <a:pt x="624" y="143"/>
                      <a:pt x="621" y="146"/>
                      <a:pt x="617" y="146"/>
                    </a:cubicBezTo>
                    <a:close/>
                    <a:moveTo>
                      <a:pt x="617" y="120"/>
                    </a:moveTo>
                    <a:lnTo>
                      <a:pt x="483" y="120"/>
                    </a:lnTo>
                    <a:cubicBezTo>
                      <a:pt x="479" y="120"/>
                      <a:pt x="476" y="117"/>
                      <a:pt x="476" y="113"/>
                    </a:cubicBezTo>
                    <a:cubicBezTo>
                      <a:pt x="476" y="109"/>
                      <a:pt x="479" y="106"/>
                      <a:pt x="483" y="106"/>
                    </a:cubicBezTo>
                    <a:lnTo>
                      <a:pt x="617" y="106"/>
                    </a:lnTo>
                    <a:cubicBezTo>
                      <a:pt x="621" y="106"/>
                      <a:pt x="624" y="109"/>
                      <a:pt x="624" y="113"/>
                    </a:cubicBezTo>
                    <a:cubicBezTo>
                      <a:pt x="624" y="117"/>
                      <a:pt x="621" y="120"/>
                      <a:pt x="617" y="120"/>
                    </a:cubicBezTo>
                    <a:close/>
                  </a:path>
                </a:pathLst>
              </a:custGeom>
              <a:solidFill>
                <a:schemeClr val="accent3">
                  <a:lumMod val="50000"/>
                </a:schemeClr>
              </a:solidFill>
              <a:ln w="0">
                <a:noFill/>
                <a:prstDash val="solid"/>
                <a:round/>
                <a:headEnd/>
                <a:tailEnd/>
              </a:ln>
            </p:spPr>
            <p:txBody>
              <a:bodyPr vert="horz" wrap="square" lIns="68570" tIns="34285" rIns="68570" bIns="34285" numCol="1" anchor="t" anchorCtr="0" compatLnSpc="1">
                <a:prstTxWarp prst="textNoShape">
                  <a:avLst/>
                </a:prstTxWarp>
              </a:bodyPr>
              <a:lstStyle/>
              <a:p>
                <a:pPr defTabSz="932597"/>
                <a:endParaRPr lang="en-US" sz="1350">
                  <a:solidFill>
                    <a:srgbClr val="505050"/>
                  </a:solidFill>
                </a:endParaRPr>
              </a:p>
            </p:txBody>
          </p:sp>
          <p:grpSp>
            <p:nvGrpSpPr>
              <p:cNvPr id="39" name="Group 38"/>
              <p:cNvGrpSpPr>
                <a:grpSpLocks noChangeAspect="1"/>
              </p:cNvGrpSpPr>
              <p:nvPr/>
            </p:nvGrpSpPr>
            <p:grpSpPr>
              <a:xfrm>
                <a:off x="10524888" y="1861397"/>
                <a:ext cx="886784" cy="764469"/>
                <a:chOff x="10524888" y="1861397"/>
                <a:chExt cx="886784" cy="764469"/>
              </a:xfrm>
            </p:grpSpPr>
            <p:sp>
              <p:nvSpPr>
                <p:cNvPr id="40" name="Isosceles Triangle 39"/>
                <p:cNvSpPr/>
                <p:nvPr/>
              </p:nvSpPr>
              <p:spPr bwMode="auto">
                <a:xfrm>
                  <a:off x="10524888" y="1861397"/>
                  <a:ext cx="886784" cy="764469"/>
                </a:xfrm>
                <a:prstGeom prst="triangle">
                  <a:avLst/>
                </a:prstGeom>
                <a:solidFill>
                  <a:schemeClr val="accent3">
                    <a:lumMod val="50000"/>
                  </a:schemeClr>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2" rIns="137141" bIns="109712" numCol="1" spcCol="0" rtlCol="0" fromWordArt="0" anchor="t" anchorCtr="0" forceAA="0" compatLnSpc="1">
                  <a:prstTxWarp prst="textNoShape">
                    <a:avLst/>
                  </a:prstTxWarp>
                  <a:noAutofit/>
                </a:bodyPr>
                <a:lstStyle/>
                <a:p>
                  <a:pPr algn="ctr" defTabSz="699291" fontAlgn="base">
                    <a:lnSpc>
                      <a:spcPct val="90000"/>
                    </a:lnSpc>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41" name="Oval 40"/>
                <p:cNvSpPr/>
                <p:nvPr/>
              </p:nvSpPr>
              <p:spPr bwMode="auto">
                <a:xfrm>
                  <a:off x="10899700" y="2092185"/>
                  <a:ext cx="137160" cy="13716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2" rIns="137141" bIns="109712" numCol="1" spcCol="0" rtlCol="0" fromWordArt="0" anchor="t" anchorCtr="0" forceAA="0" compatLnSpc="1">
                  <a:prstTxWarp prst="textNoShape">
                    <a:avLst/>
                  </a:prstTxWarp>
                  <a:noAutofit/>
                </a:bodyPr>
                <a:lstStyle/>
                <a:p>
                  <a:pPr algn="ctr" defTabSz="699291" fontAlgn="base">
                    <a:lnSpc>
                      <a:spcPct val="90000"/>
                    </a:lnSpc>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49" name="Oval 48"/>
                <p:cNvSpPr/>
                <p:nvPr/>
              </p:nvSpPr>
              <p:spPr bwMode="auto">
                <a:xfrm>
                  <a:off x="10712294" y="2385706"/>
                  <a:ext cx="137160" cy="13716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2" rIns="137141" bIns="109712" numCol="1" spcCol="0" rtlCol="0" fromWordArt="0" anchor="t" anchorCtr="0" forceAA="0" compatLnSpc="1">
                  <a:prstTxWarp prst="textNoShape">
                    <a:avLst/>
                  </a:prstTxWarp>
                  <a:noAutofit/>
                </a:bodyPr>
                <a:lstStyle/>
                <a:p>
                  <a:pPr algn="ctr" defTabSz="699291" fontAlgn="base">
                    <a:lnSpc>
                      <a:spcPct val="90000"/>
                    </a:lnSpc>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51" name="Oval 50"/>
                <p:cNvSpPr/>
                <p:nvPr/>
              </p:nvSpPr>
              <p:spPr bwMode="auto">
                <a:xfrm>
                  <a:off x="11077578" y="2385706"/>
                  <a:ext cx="137160" cy="13716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2" rIns="137141" bIns="109712" numCol="1" spcCol="0" rtlCol="0" fromWordArt="0" anchor="t" anchorCtr="0" forceAA="0" compatLnSpc="1">
                  <a:prstTxWarp prst="textNoShape">
                    <a:avLst/>
                  </a:prstTxWarp>
                  <a:noAutofit/>
                </a:bodyPr>
                <a:lstStyle/>
                <a:p>
                  <a:pPr algn="ctr" defTabSz="699291" fontAlgn="base">
                    <a:lnSpc>
                      <a:spcPct val="90000"/>
                    </a:lnSpc>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52" name="Straight Connector 51"/>
                <p:cNvCxnSpPr/>
                <p:nvPr/>
              </p:nvCxnSpPr>
              <p:spPr>
                <a:xfrm flipH="1">
                  <a:off x="10799212" y="2214939"/>
                  <a:ext cx="137160" cy="209688"/>
                </a:xfrm>
                <a:prstGeom prst="line">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3" name="Oval 52"/>
                <p:cNvSpPr/>
                <p:nvPr/>
              </p:nvSpPr>
              <p:spPr bwMode="auto">
                <a:xfrm>
                  <a:off x="10899700" y="2385706"/>
                  <a:ext cx="137160" cy="13716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2" rIns="137141" bIns="109712" numCol="1" spcCol="0" rtlCol="0" fromWordArt="0" anchor="t" anchorCtr="0" forceAA="0" compatLnSpc="1">
                  <a:prstTxWarp prst="textNoShape">
                    <a:avLst/>
                  </a:prstTxWarp>
                  <a:noAutofit/>
                </a:bodyPr>
                <a:lstStyle/>
                <a:p>
                  <a:pPr algn="ctr" defTabSz="699291" fontAlgn="base">
                    <a:lnSpc>
                      <a:spcPct val="90000"/>
                    </a:lnSpc>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54" name="Straight Connector 53"/>
                <p:cNvCxnSpPr/>
                <p:nvPr/>
              </p:nvCxnSpPr>
              <p:spPr>
                <a:xfrm flipH="1">
                  <a:off x="10965898" y="2190286"/>
                  <a:ext cx="4764" cy="279235"/>
                </a:xfrm>
                <a:prstGeom prst="line">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a:off x="11000188" y="2214939"/>
                  <a:ext cx="137160" cy="209688"/>
                </a:xfrm>
                <a:prstGeom prst="line">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56" name="Rectangle 55"/>
            <p:cNvSpPr/>
            <p:nvPr/>
          </p:nvSpPr>
          <p:spPr bwMode="auto">
            <a:xfrm flipH="1">
              <a:off x="6537989" y="2586436"/>
              <a:ext cx="1789941" cy="1097946"/>
            </a:xfrm>
            <a:prstGeom prst="rect">
              <a:avLst/>
            </a:prstGeom>
          </p:spPr>
          <p:txBody>
            <a:bodyPr wrap="none" lIns="0" tIns="0" rIns="0" bIns="0">
              <a:spAutoFit/>
            </a:bodyPr>
            <a:lstStyle/>
            <a:p>
              <a:pPr algn="ctr" defTabSz="932597"/>
              <a:r>
                <a:rPr lang="en-US" sz="1049" b="1" dirty="0">
                  <a:solidFill>
                    <a:srgbClr val="505050"/>
                  </a:solidFill>
                </a:rPr>
                <a:t>IDP</a:t>
              </a:r>
            </a:p>
            <a:p>
              <a:pPr algn="ctr" defTabSz="932597"/>
              <a:r>
                <a:rPr lang="en-US" sz="1049" dirty="0">
                  <a:solidFill>
                    <a:srgbClr val="505050"/>
                  </a:solidFill>
                </a:rPr>
                <a:t>Active Directory</a:t>
              </a:r>
            </a:p>
            <a:p>
              <a:pPr algn="ctr" defTabSz="932597"/>
              <a:r>
                <a:rPr lang="en-US" sz="1049" dirty="0">
                  <a:solidFill>
                    <a:srgbClr val="505050"/>
                  </a:solidFill>
                </a:rPr>
                <a:t>Azure Active Directory</a:t>
              </a:r>
            </a:p>
            <a:p>
              <a:pPr algn="ctr" defTabSz="932597"/>
              <a:r>
                <a:rPr lang="en-US" sz="1049" dirty="0">
                  <a:solidFill>
                    <a:srgbClr val="505050"/>
                  </a:solidFill>
                </a:rPr>
                <a:t>Microsoft Account</a:t>
              </a:r>
            </a:p>
            <a:p>
              <a:pPr algn="ctr" defTabSz="932597"/>
              <a:r>
                <a:rPr lang="en-US" sz="1049" dirty="0">
                  <a:solidFill>
                    <a:srgbClr val="505050"/>
                  </a:solidFill>
                </a:rPr>
                <a:t>Other IDP’s</a:t>
              </a:r>
            </a:p>
          </p:txBody>
        </p:sp>
      </p:grpSp>
      <p:cxnSp>
        <p:nvCxnSpPr>
          <p:cNvPr id="57" name="Straight Arrow Connector 56"/>
          <p:cNvCxnSpPr/>
          <p:nvPr/>
        </p:nvCxnSpPr>
        <p:spPr>
          <a:xfrm flipH="1">
            <a:off x="5502597" y="2617726"/>
            <a:ext cx="3497084" cy="0"/>
          </a:xfrm>
          <a:prstGeom prst="straightConnector1">
            <a:avLst/>
          </a:prstGeom>
          <a:ln w="76200">
            <a:solidFill>
              <a:schemeClr val="bg2">
                <a:lumMod val="50000"/>
              </a:schemeClr>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58" name="TextBox 57"/>
          <p:cNvSpPr txBox="1"/>
          <p:nvPr/>
        </p:nvSpPr>
        <p:spPr>
          <a:xfrm flipH="1">
            <a:off x="7113999" y="2480586"/>
            <a:ext cx="274281" cy="268155"/>
          </a:xfrm>
          <a:prstGeom prst="ellipse">
            <a:avLst/>
          </a:prstGeom>
          <a:solidFill>
            <a:schemeClr val="bg1">
              <a:lumMod val="95000"/>
            </a:schemeClr>
          </a:solidFill>
          <a:ln w="57150">
            <a:solidFill>
              <a:schemeClr val="bg2">
                <a:lumMod val="50000"/>
              </a:schemeClr>
            </a:solidFill>
          </a:ln>
        </p:spPr>
        <p:txBody>
          <a:bodyPr wrap="square" lIns="0" tIns="0" rIns="0" bIns="0" rtlCol="0">
            <a:spAutoFit/>
          </a:bodyPr>
          <a:lstStyle/>
          <a:p>
            <a:pPr algn="ctr" defTabSz="932597">
              <a:lnSpc>
                <a:spcPct val="90000"/>
              </a:lnSpc>
              <a:spcAft>
                <a:spcPts val="450"/>
              </a:spcAft>
            </a:pPr>
            <a:r>
              <a:rPr lang="en-US" sz="1350" dirty="0">
                <a:solidFill>
                  <a:srgbClr val="505050"/>
                </a:solidFill>
              </a:rPr>
              <a:t>1</a:t>
            </a:r>
            <a:endParaRPr lang="en-US" dirty="0">
              <a:solidFill>
                <a:srgbClr val="505050"/>
              </a:solidFill>
            </a:endParaRPr>
          </a:p>
        </p:txBody>
      </p:sp>
      <p:sp>
        <p:nvSpPr>
          <p:cNvPr id="59" name="TextBox 58"/>
          <p:cNvSpPr txBox="1"/>
          <p:nvPr/>
        </p:nvSpPr>
        <p:spPr>
          <a:xfrm flipH="1">
            <a:off x="6731743" y="2116880"/>
            <a:ext cx="1038795" cy="298470"/>
          </a:xfrm>
          <a:prstGeom prst="rect">
            <a:avLst/>
          </a:prstGeom>
          <a:noFill/>
        </p:spPr>
        <p:txBody>
          <a:bodyPr wrap="square" lIns="0" tIns="0" rIns="0" bIns="0" rtlCol="0">
            <a:spAutoFit/>
          </a:bodyPr>
          <a:lstStyle/>
          <a:p>
            <a:pPr algn="ctr" defTabSz="932597">
              <a:lnSpc>
                <a:spcPct val="90000"/>
              </a:lnSpc>
              <a:spcAft>
                <a:spcPts val="450"/>
              </a:spcAft>
            </a:pPr>
            <a:r>
              <a:rPr lang="en-US" sz="825" dirty="0">
                <a:gradFill>
                  <a:gsLst>
                    <a:gs pos="2917">
                      <a:srgbClr val="505050"/>
                    </a:gs>
                    <a:gs pos="30000">
                      <a:srgbClr val="505050"/>
                    </a:gs>
                  </a:gsLst>
                  <a:lin ang="5400000" scaled="0"/>
                </a:gradFill>
              </a:rPr>
              <a:t>Create Account or </a:t>
            </a:r>
          </a:p>
          <a:p>
            <a:pPr algn="ctr" defTabSz="932597">
              <a:lnSpc>
                <a:spcPct val="90000"/>
              </a:lnSpc>
              <a:spcAft>
                <a:spcPts val="450"/>
              </a:spcAft>
            </a:pPr>
            <a:r>
              <a:rPr lang="en-US" sz="825" dirty="0">
                <a:gradFill>
                  <a:gsLst>
                    <a:gs pos="2917">
                      <a:srgbClr val="505050"/>
                    </a:gs>
                    <a:gs pos="30000">
                      <a:srgbClr val="505050"/>
                    </a:gs>
                  </a:gsLst>
                  <a:lin ang="5400000" scaled="0"/>
                </a:gradFill>
              </a:rPr>
              <a:t>Proves Identity</a:t>
            </a:r>
            <a:endParaRPr lang="en-US" sz="1049" dirty="0">
              <a:gradFill>
                <a:gsLst>
                  <a:gs pos="2917">
                    <a:srgbClr val="505050"/>
                  </a:gs>
                  <a:gs pos="30000">
                    <a:srgbClr val="505050"/>
                  </a:gs>
                </a:gsLst>
                <a:lin ang="5400000" scaled="0"/>
              </a:gradFill>
            </a:endParaRPr>
          </a:p>
        </p:txBody>
      </p:sp>
      <p:sp>
        <p:nvSpPr>
          <p:cNvPr id="60" name="TextBox 59"/>
          <p:cNvSpPr txBox="1"/>
          <p:nvPr/>
        </p:nvSpPr>
        <p:spPr>
          <a:xfrm flipH="1">
            <a:off x="6088783" y="2811090"/>
            <a:ext cx="2340328" cy="298470"/>
          </a:xfrm>
          <a:prstGeom prst="rect">
            <a:avLst/>
          </a:prstGeom>
          <a:noFill/>
        </p:spPr>
        <p:txBody>
          <a:bodyPr wrap="square" lIns="0" tIns="0" rIns="0" bIns="0" rtlCol="0">
            <a:spAutoFit/>
          </a:bodyPr>
          <a:lstStyle/>
          <a:p>
            <a:pPr algn="ctr" defTabSz="932597">
              <a:lnSpc>
                <a:spcPct val="90000"/>
              </a:lnSpc>
              <a:spcAft>
                <a:spcPts val="450"/>
              </a:spcAft>
            </a:pPr>
            <a:r>
              <a:rPr lang="en-US" sz="825" dirty="0">
                <a:gradFill>
                  <a:gsLst>
                    <a:gs pos="2917">
                      <a:srgbClr val="505050"/>
                    </a:gs>
                    <a:gs pos="30000">
                      <a:srgbClr val="505050"/>
                    </a:gs>
                  </a:gsLst>
                  <a:lin ang="5400000" scaled="0"/>
                </a:gradFill>
              </a:rPr>
              <a:t>Create and trust my unique key or</a:t>
            </a:r>
          </a:p>
          <a:p>
            <a:pPr algn="ctr" defTabSz="932597">
              <a:lnSpc>
                <a:spcPct val="90000"/>
              </a:lnSpc>
              <a:spcAft>
                <a:spcPts val="450"/>
              </a:spcAft>
            </a:pPr>
            <a:r>
              <a:rPr lang="en-US" sz="825" dirty="0">
                <a:gradFill>
                  <a:gsLst>
                    <a:gs pos="2917">
                      <a:srgbClr val="505050"/>
                    </a:gs>
                    <a:gs pos="30000">
                      <a:srgbClr val="505050"/>
                    </a:gs>
                  </a:gsLst>
                  <a:lin ang="5400000" scaled="0"/>
                </a:gradFill>
              </a:rPr>
              <a:t>Authenticate me by validating this signed request</a:t>
            </a:r>
          </a:p>
        </p:txBody>
      </p:sp>
      <p:grpSp>
        <p:nvGrpSpPr>
          <p:cNvPr id="61" name="Group 60"/>
          <p:cNvGrpSpPr/>
          <p:nvPr/>
        </p:nvGrpSpPr>
        <p:grpSpPr>
          <a:xfrm>
            <a:off x="4918044" y="2437702"/>
            <a:ext cx="360872" cy="1180153"/>
            <a:chOff x="986498" y="1927841"/>
            <a:chExt cx="481231" cy="1573761"/>
          </a:xfrm>
        </p:grpSpPr>
        <p:sp>
          <p:nvSpPr>
            <p:cNvPr id="62" name="TextBox 61"/>
            <p:cNvSpPr txBox="1"/>
            <p:nvPr/>
          </p:nvSpPr>
          <p:spPr>
            <a:xfrm flipH="1">
              <a:off x="1023531" y="3282013"/>
              <a:ext cx="364094" cy="219589"/>
            </a:xfrm>
            <a:prstGeom prst="rect">
              <a:avLst/>
            </a:prstGeom>
          </p:spPr>
          <p:txBody>
            <a:bodyPr wrap="none" lIns="0" tIns="0" rIns="0" bIns="0">
              <a:spAutoFit/>
            </a:bodyPr>
            <a:lstStyle>
              <a:defPPr>
                <a:defRPr lang="en-US"/>
              </a:defPPr>
              <a:lvl1pPr>
                <a:defRPr sz="1600"/>
              </a:lvl1pPr>
            </a:lstStyle>
            <a:p>
              <a:pPr defTabSz="932597"/>
              <a:r>
                <a:rPr lang="en-US" sz="1049" dirty="0">
                  <a:solidFill>
                    <a:srgbClr val="505050"/>
                  </a:solidFill>
                </a:rPr>
                <a:t>User</a:t>
              </a:r>
            </a:p>
          </p:txBody>
        </p:sp>
        <p:grpSp>
          <p:nvGrpSpPr>
            <p:cNvPr id="63" name="Group 62"/>
            <p:cNvGrpSpPr/>
            <p:nvPr/>
          </p:nvGrpSpPr>
          <p:grpSpPr>
            <a:xfrm flipH="1">
              <a:off x="986498" y="1927841"/>
              <a:ext cx="481231" cy="1245630"/>
              <a:chOff x="2255561" y="2057415"/>
              <a:chExt cx="481231" cy="1245630"/>
            </a:xfrm>
            <a:solidFill>
              <a:schemeClr val="accent3">
                <a:lumMod val="75000"/>
              </a:schemeClr>
            </a:solidFill>
          </p:grpSpPr>
          <p:sp>
            <p:nvSpPr>
              <p:cNvPr id="64" name="Freeform 63"/>
              <p:cNvSpPr>
                <a:spLocks/>
              </p:cNvSpPr>
              <p:nvPr/>
            </p:nvSpPr>
            <p:spPr bwMode="black">
              <a:xfrm>
                <a:off x="2255561" y="2288137"/>
                <a:ext cx="481231" cy="1014908"/>
              </a:xfrm>
              <a:custGeom>
                <a:avLst/>
                <a:gdLst>
                  <a:gd name="connsiteX0" fmla="*/ 132681 w 481231"/>
                  <a:gd name="connsiteY0" fmla="*/ 0 h 1014908"/>
                  <a:gd name="connsiteX1" fmla="*/ 233104 w 481231"/>
                  <a:gd name="connsiteY1" fmla="*/ 0 h 1014908"/>
                  <a:gd name="connsiteX2" fmla="*/ 248127 w 481231"/>
                  <a:gd name="connsiteY2" fmla="*/ 0 h 1014908"/>
                  <a:gd name="connsiteX3" fmla="*/ 348550 w 481231"/>
                  <a:gd name="connsiteY3" fmla="*/ 0 h 1014908"/>
                  <a:gd name="connsiteX4" fmla="*/ 481231 w 481231"/>
                  <a:gd name="connsiteY4" fmla="*/ 131735 h 1014908"/>
                  <a:gd name="connsiteX5" fmla="*/ 481231 w 481231"/>
                  <a:gd name="connsiteY5" fmla="*/ 449300 h 1014908"/>
                  <a:gd name="connsiteX6" fmla="*/ 436716 w 481231"/>
                  <a:gd name="connsiteY6" fmla="*/ 494565 h 1014908"/>
                  <a:gd name="connsiteX7" fmla="*/ 392246 w 481231"/>
                  <a:gd name="connsiteY7" fmla="*/ 449300 h 1014908"/>
                  <a:gd name="connsiteX8" fmla="*/ 392246 w 481231"/>
                  <a:gd name="connsiteY8" fmla="*/ 162385 h 1014908"/>
                  <a:gd name="connsiteX9" fmla="*/ 368784 w 481231"/>
                  <a:gd name="connsiteY9" fmla="*/ 162385 h 1014908"/>
                  <a:gd name="connsiteX10" fmla="*/ 368784 w 481231"/>
                  <a:gd name="connsiteY10" fmla="*/ 955130 h 1014908"/>
                  <a:gd name="connsiteX11" fmla="*/ 308081 w 481231"/>
                  <a:gd name="connsiteY11" fmla="*/ 1014908 h 1014908"/>
                  <a:gd name="connsiteX12" fmla="*/ 248198 w 481231"/>
                  <a:gd name="connsiteY12" fmla="*/ 955130 h 1014908"/>
                  <a:gd name="connsiteX13" fmla="*/ 248198 w 481231"/>
                  <a:gd name="connsiteY13" fmla="*/ 496899 h 1014908"/>
                  <a:gd name="connsiteX14" fmla="*/ 248127 w 481231"/>
                  <a:gd name="connsiteY14" fmla="*/ 496899 h 1014908"/>
                  <a:gd name="connsiteX15" fmla="*/ 233104 w 481231"/>
                  <a:gd name="connsiteY15" fmla="*/ 496899 h 1014908"/>
                  <a:gd name="connsiteX16" fmla="*/ 233033 w 481231"/>
                  <a:gd name="connsiteY16" fmla="*/ 496899 h 1014908"/>
                  <a:gd name="connsiteX17" fmla="*/ 233033 w 481231"/>
                  <a:gd name="connsiteY17" fmla="*/ 955130 h 1014908"/>
                  <a:gd name="connsiteX18" fmla="*/ 173150 w 481231"/>
                  <a:gd name="connsiteY18" fmla="*/ 1014908 h 1014908"/>
                  <a:gd name="connsiteX19" fmla="*/ 112447 w 481231"/>
                  <a:gd name="connsiteY19" fmla="*/ 955130 h 1014908"/>
                  <a:gd name="connsiteX20" fmla="*/ 112447 w 481231"/>
                  <a:gd name="connsiteY20" fmla="*/ 162385 h 1014908"/>
                  <a:gd name="connsiteX21" fmla="*/ 88985 w 481231"/>
                  <a:gd name="connsiteY21" fmla="*/ 162385 h 1014908"/>
                  <a:gd name="connsiteX22" fmla="*/ 88985 w 481231"/>
                  <a:gd name="connsiteY22" fmla="*/ 449300 h 1014908"/>
                  <a:gd name="connsiteX23" fmla="*/ 44515 w 481231"/>
                  <a:gd name="connsiteY23" fmla="*/ 494565 h 1014908"/>
                  <a:gd name="connsiteX24" fmla="*/ 0 w 481231"/>
                  <a:gd name="connsiteY24" fmla="*/ 449300 h 1014908"/>
                  <a:gd name="connsiteX25" fmla="*/ 0 w 481231"/>
                  <a:gd name="connsiteY25" fmla="*/ 131735 h 1014908"/>
                  <a:gd name="connsiteX26" fmla="*/ 132681 w 481231"/>
                  <a:gd name="connsiteY26" fmla="*/ 0 h 1014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81231" h="1014908">
                    <a:moveTo>
                      <a:pt x="132681" y="0"/>
                    </a:moveTo>
                    <a:lnTo>
                      <a:pt x="233104" y="0"/>
                    </a:lnTo>
                    <a:lnTo>
                      <a:pt x="248127" y="0"/>
                    </a:lnTo>
                    <a:lnTo>
                      <a:pt x="348550" y="0"/>
                    </a:lnTo>
                    <a:cubicBezTo>
                      <a:pt x="422165" y="0"/>
                      <a:pt x="481231" y="58966"/>
                      <a:pt x="481231" y="131735"/>
                    </a:cubicBezTo>
                    <a:lnTo>
                      <a:pt x="481231" y="449300"/>
                    </a:lnTo>
                    <a:cubicBezTo>
                      <a:pt x="481231" y="474368"/>
                      <a:pt x="460997" y="494565"/>
                      <a:pt x="436716" y="494565"/>
                    </a:cubicBezTo>
                    <a:cubicBezTo>
                      <a:pt x="411662" y="494565"/>
                      <a:pt x="392246" y="474368"/>
                      <a:pt x="392246" y="449300"/>
                    </a:cubicBezTo>
                    <a:lnTo>
                      <a:pt x="392246" y="162385"/>
                    </a:lnTo>
                    <a:lnTo>
                      <a:pt x="368784" y="162385"/>
                    </a:lnTo>
                    <a:lnTo>
                      <a:pt x="368784" y="955130"/>
                    </a:lnTo>
                    <a:cubicBezTo>
                      <a:pt x="368784" y="988216"/>
                      <a:pt x="341275" y="1014908"/>
                      <a:pt x="308081" y="1014908"/>
                    </a:cubicBezTo>
                    <a:cubicBezTo>
                      <a:pt x="274934" y="1014908"/>
                      <a:pt x="248198" y="988216"/>
                      <a:pt x="248198" y="955130"/>
                    </a:cubicBezTo>
                    <a:lnTo>
                      <a:pt x="248198" y="496899"/>
                    </a:lnTo>
                    <a:lnTo>
                      <a:pt x="248127" y="496899"/>
                    </a:lnTo>
                    <a:lnTo>
                      <a:pt x="233104" y="496899"/>
                    </a:lnTo>
                    <a:lnTo>
                      <a:pt x="233033" y="496899"/>
                    </a:lnTo>
                    <a:lnTo>
                      <a:pt x="233033" y="955130"/>
                    </a:lnTo>
                    <a:cubicBezTo>
                      <a:pt x="233033" y="988216"/>
                      <a:pt x="206297" y="1014908"/>
                      <a:pt x="173150" y="1014908"/>
                    </a:cubicBezTo>
                    <a:cubicBezTo>
                      <a:pt x="139956" y="1014908"/>
                      <a:pt x="112447" y="988216"/>
                      <a:pt x="112447" y="955130"/>
                    </a:cubicBezTo>
                    <a:lnTo>
                      <a:pt x="112447" y="162385"/>
                    </a:lnTo>
                    <a:lnTo>
                      <a:pt x="88985" y="162385"/>
                    </a:lnTo>
                    <a:lnTo>
                      <a:pt x="88985" y="449300"/>
                    </a:lnTo>
                    <a:cubicBezTo>
                      <a:pt x="88985" y="474368"/>
                      <a:pt x="69569" y="494565"/>
                      <a:pt x="44515" y="494565"/>
                    </a:cubicBezTo>
                    <a:cubicBezTo>
                      <a:pt x="20234" y="494565"/>
                      <a:pt x="0" y="474368"/>
                      <a:pt x="0" y="449300"/>
                    </a:cubicBezTo>
                    <a:lnTo>
                      <a:pt x="0" y="131735"/>
                    </a:lnTo>
                    <a:cubicBezTo>
                      <a:pt x="0" y="58966"/>
                      <a:pt x="59066" y="0"/>
                      <a:pt x="132681" y="0"/>
                    </a:cubicBezTo>
                    <a:close/>
                  </a:path>
                </a:pathLst>
              </a:custGeom>
              <a:solidFill>
                <a:schemeClr val="accent3">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noAutofit/>
              </a:bodyPr>
              <a:lstStyle/>
              <a:p>
                <a:pPr defTabSz="932597"/>
                <a:endParaRPr lang="en-US" sz="1199">
                  <a:solidFill>
                    <a:srgbClr val="505050"/>
                  </a:solidFill>
                </a:endParaRPr>
              </a:p>
            </p:txBody>
          </p:sp>
          <p:sp>
            <p:nvSpPr>
              <p:cNvPr id="65" name="Oval 38"/>
              <p:cNvSpPr>
                <a:spLocks noChangeArrowheads="1"/>
              </p:cNvSpPr>
              <p:nvPr/>
            </p:nvSpPr>
            <p:spPr bwMode="black">
              <a:xfrm>
                <a:off x="2394522" y="2057415"/>
                <a:ext cx="203309" cy="206003"/>
              </a:xfrm>
              <a:prstGeom prst="ellipse">
                <a:avLst/>
              </a:prstGeom>
              <a:solidFill>
                <a:schemeClr val="accent3">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932597"/>
                <a:endParaRPr lang="en-US" sz="1199">
                  <a:solidFill>
                    <a:srgbClr val="505050"/>
                  </a:solidFill>
                </a:endParaRPr>
              </a:p>
            </p:txBody>
          </p:sp>
        </p:grpSp>
      </p:grpSp>
      <p:grpSp>
        <p:nvGrpSpPr>
          <p:cNvPr id="14" name="Group 13"/>
          <p:cNvGrpSpPr/>
          <p:nvPr/>
        </p:nvGrpSpPr>
        <p:grpSpPr>
          <a:xfrm>
            <a:off x="5502597" y="3138708"/>
            <a:ext cx="3497084" cy="268155"/>
            <a:chOff x="1824029" y="2783814"/>
            <a:chExt cx="4663440" cy="357591"/>
          </a:xfrm>
        </p:grpSpPr>
        <p:cxnSp>
          <p:nvCxnSpPr>
            <p:cNvPr id="68" name="Straight Arrow Connector 67"/>
            <p:cNvCxnSpPr/>
            <p:nvPr/>
          </p:nvCxnSpPr>
          <p:spPr>
            <a:xfrm flipH="1">
              <a:off x="1824029" y="2966694"/>
              <a:ext cx="4663440" cy="0"/>
            </a:xfrm>
            <a:prstGeom prst="straightConnector1">
              <a:avLst/>
            </a:prstGeom>
            <a:ln w="76200">
              <a:solidFill>
                <a:schemeClr val="bg2">
                  <a:lumMod val="50000"/>
                </a:schemeClr>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67" name="TextBox 66"/>
            <p:cNvSpPr txBox="1"/>
            <p:nvPr/>
          </p:nvSpPr>
          <p:spPr>
            <a:xfrm flipH="1">
              <a:off x="3972869" y="2783814"/>
              <a:ext cx="365759" cy="357591"/>
            </a:xfrm>
            <a:prstGeom prst="ellipse">
              <a:avLst/>
            </a:prstGeom>
            <a:solidFill>
              <a:schemeClr val="bg1">
                <a:lumMod val="95000"/>
              </a:schemeClr>
            </a:solidFill>
            <a:ln w="57150">
              <a:solidFill>
                <a:schemeClr val="bg2">
                  <a:lumMod val="50000"/>
                </a:schemeClr>
              </a:solidFill>
            </a:ln>
          </p:spPr>
          <p:txBody>
            <a:bodyPr wrap="square" lIns="0" tIns="0" rIns="0" bIns="0" rtlCol="0">
              <a:spAutoFit/>
            </a:bodyPr>
            <a:lstStyle/>
            <a:p>
              <a:pPr algn="ctr" defTabSz="932597">
                <a:lnSpc>
                  <a:spcPct val="90000"/>
                </a:lnSpc>
                <a:spcAft>
                  <a:spcPts val="450"/>
                </a:spcAft>
              </a:pPr>
              <a:r>
                <a:rPr lang="en-US" sz="1350" dirty="0">
                  <a:solidFill>
                    <a:srgbClr val="505050"/>
                  </a:solidFill>
                </a:rPr>
                <a:t>2</a:t>
              </a:r>
              <a:endParaRPr lang="en-US" dirty="0">
                <a:solidFill>
                  <a:srgbClr val="505050"/>
                </a:solidFill>
              </a:endParaRPr>
            </a:p>
          </p:txBody>
        </p:sp>
      </p:grpSp>
      <p:grpSp>
        <p:nvGrpSpPr>
          <p:cNvPr id="69" name="Group 68"/>
          <p:cNvGrpSpPr/>
          <p:nvPr/>
        </p:nvGrpSpPr>
        <p:grpSpPr>
          <a:xfrm>
            <a:off x="6886313" y="3934295"/>
            <a:ext cx="838295" cy="988726"/>
            <a:chOff x="2815386" y="3673493"/>
            <a:chExt cx="1117884" cy="1318489"/>
          </a:xfrm>
        </p:grpSpPr>
        <p:sp>
          <p:nvSpPr>
            <p:cNvPr id="70" name="Freeform 20"/>
            <p:cNvSpPr>
              <a:spLocks noEditPoints="1"/>
            </p:cNvSpPr>
            <p:nvPr/>
          </p:nvSpPr>
          <p:spPr bwMode="black">
            <a:xfrm>
              <a:off x="2815386" y="3673493"/>
              <a:ext cx="1117884" cy="777194"/>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chemeClr val="accent3">
                <a:lumMod val="50000"/>
              </a:schemeClr>
            </a:solidFill>
            <a:extLst/>
          </p:spPr>
          <p:txBody>
            <a:bodyPr vert="horz" wrap="square" lIns="61720" tIns="30860" rIns="61720" bIns="30860" numCol="1" anchor="t" anchorCtr="0" compatLnSpc="1">
              <a:prstTxWarp prst="textNoShape">
                <a:avLst/>
              </a:prstTxWarp>
            </a:bodyPr>
            <a:lstStyle/>
            <a:p>
              <a:pPr defTabSz="932597"/>
              <a:endParaRPr lang="en-US" sz="675" dirty="0">
                <a:solidFill>
                  <a:srgbClr val="FFFFFF"/>
                </a:solidFill>
              </a:endParaRPr>
            </a:p>
          </p:txBody>
        </p:sp>
        <p:sp>
          <p:nvSpPr>
            <p:cNvPr id="71" name="Rectangle 70"/>
            <p:cNvSpPr/>
            <p:nvPr/>
          </p:nvSpPr>
          <p:spPr>
            <a:xfrm>
              <a:off x="2869695" y="4552803"/>
              <a:ext cx="1010523" cy="439179"/>
            </a:xfrm>
            <a:prstGeom prst="rect">
              <a:avLst/>
            </a:prstGeom>
          </p:spPr>
          <p:txBody>
            <a:bodyPr wrap="square" lIns="0" tIns="0" rIns="0" bIns="0">
              <a:spAutoFit/>
            </a:bodyPr>
            <a:lstStyle/>
            <a:p>
              <a:pPr algn="ctr" defTabSz="932597"/>
              <a:r>
                <a:rPr lang="en-US" sz="1049" dirty="0">
                  <a:solidFill>
                    <a:srgbClr val="505050"/>
                  </a:solidFill>
                </a:rPr>
                <a:t>Windows 10 </a:t>
              </a:r>
              <a:br>
                <a:rPr lang="en-US" sz="1049" dirty="0">
                  <a:solidFill>
                    <a:srgbClr val="505050"/>
                  </a:solidFill>
                </a:rPr>
              </a:br>
              <a:endParaRPr lang="en-US" sz="1049" dirty="0">
                <a:solidFill>
                  <a:srgbClr val="505050"/>
                </a:solidFill>
              </a:endParaRPr>
            </a:p>
          </p:txBody>
        </p:sp>
      </p:grpSp>
      <p:grpSp>
        <p:nvGrpSpPr>
          <p:cNvPr id="6" name="Group 5"/>
          <p:cNvGrpSpPr/>
          <p:nvPr/>
        </p:nvGrpSpPr>
        <p:grpSpPr>
          <a:xfrm>
            <a:off x="7833987" y="3904722"/>
            <a:ext cx="1165695" cy="268155"/>
            <a:chOff x="4841549" y="3580049"/>
            <a:chExt cx="1554480" cy="357591"/>
          </a:xfrm>
        </p:grpSpPr>
        <p:cxnSp>
          <p:nvCxnSpPr>
            <p:cNvPr id="72" name="Straight Arrow Connector 71"/>
            <p:cNvCxnSpPr/>
            <p:nvPr/>
          </p:nvCxnSpPr>
          <p:spPr>
            <a:xfrm flipH="1">
              <a:off x="4841549" y="3762929"/>
              <a:ext cx="1554480" cy="0"/>
            </a:xfrm>
            <a:prstGeom prst="straightConnector1">
              <a:avLst/>
            </a:prstGeom>
            <a:ln w="76200">
              <a:solidFill>
                <a:schemeClr val="bg2">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3" name="TextBox 72"/>
            <p:cNvSpPr txBox="1"/>
            <p:nvPr/>
          </p:nvSpPr>
          <p:spPr>
            <a:xfrm flipH="1">
              <a:off x="5393455" y="3580049"/>
              <a:ext cx="365761" cy="357591"/>
            </a:xfrm>
            <a:prstGeom prst="ellipse">
              <a:avLst/>
            </a:prstGeom>
            <a:solidFill>
              <a:schemeClr val="bg1">
                <a:lumMod val="95000"/>
              </a:schemeClr>
            </a:solidFill>
            <a:ln w="57150">
              <a:solidFill>
                <a:schemeClr val="bg2">
                  <a:lumMod val="50000"/>
                </a:schemeClr>
              </a:solidFill>
            </a:ln>
          </p:spPr>
          <p:txBody>
            <a:bodyPr wrap="square" lIns="0" tIns="0" rIns="0" bIns="0" rtlCol="0">
              <a:spAutoFit/>
            </a:bodyPr>
            <a:lstStyle/>
            <a:p>
              <a:pPr algn="ctr" defTabSz="932597">
                <a:lnSpc>
                  <a:spcPct val="90000"/>
                </a:lnSpc>
                <a:spcAft>
                  <a:spcPts val="450"/>
                </a:spcAft>
              </a:pPr>
              <a:r>
                <a:rPr lang="en-US" sz="1350" dirty="0">
                  <a:solidFill>
                    <a:srgbClr val="505050"/>
                  </a:solidFill>
                </a:rPr>
                <a:t>3</a:t>
              </a:r>
              <a:endParaRPr lang="en-US" dirty="0">
                <a:solidFill>
                  <a:srgbClr val="505050"/>
                </a:solidFill>
              </a:endParaRPr>
            </a:p>
          </p:txBody>
        </p:sp>
      </p:grpSp>
      <p:grpSp>
        <p:nvGrpSpPr>
          <p:cNvPr id="78" name="Group 77"/>
          <p:cNvGrpSpPr>
            <a:grpSpLocks noChangeAspect="1"/>
          </p:cNvGrpSpPr>
          <p:nvPr/>
        </p:nvGrpSpPr>
        <p:grpSpPr>
          <a:xfrm>
            <a:off x="4769397" y="3771994"/>
            <a:ext cx="715292" cy="617133"/>
            <a:chOff x="1494617" y="5321228"/>
            <a:chExt cx="1059841" cy="914400"/>
          </a:xfrm>
        </p:grpSpPr>
        <p:sp>
          <p:nvSpPr>
            <p:cNvPr id="79" name="Rounded Rectangle 2067"/>
            <p:cNvSpPr>
              <a:spLocks noChangeAspect="1"/>
            </p:cNvSpPr>
            <p:nvPr/>
          </p:nvSpPr>
          <p:spPr bwMode="auto">
            <a:xfrm>
              <a:off x="1494617" y="5321228"/>
              <a:ext cx="1059841" cy="914400"/>
            </a:xfrm>
            <a:custGeom>
              <a:avLst/>
              <a:gdLst/>
              <a:ahLst/>
              <a:cxnLst/>
              <a:rect l="l" t="t" r="r" b="b"/>
              <a:pathLst>
                <a:path w="774642" h="668338">
                  <a:moveTo>
                    <a:pt x="23096" y="125998"/>
                  </a:moveTo>
                  <a:lnTo>
                    <a:pt x="23096" y="644525"/>
                  </a:lnTo>
                  <a:lnTo>
                    <a:pt x="751547" y="644525"/>
                  </a:lnTo>
                  <a:lnTo>
                    <a:pt x="751547" y="125998"/>
                  </a:lnTo>
                  <a:close/>
                  <a:moveTo>
                    <a:pt x="217683" y="31750"/>
                  </a:moveTo>
                  <a:cubicBezTo>
                    <a:pt x="200008" y="31750"/>
                    <a:pt x="185679" y="46079"/>
                    <a:pt x="185679" y="63754"/>
                  </a:cubicBezTo>
                  <a:cubicBezTo>
                    <a:pt x="185679" y="81429"/>
                    <a:pt x="200008" y="95758"/>
                    <a:pt x="217683" y="95758"/>
                  </a:cubicBezTo>
                  <a:cubicBezTo>
                    <a:pt x="235358" y="95758"/>
                    <a:pt x="249687" y="81429"/>
                    <a:pt x="249687" y="63754"/>
                  </a:cubicBezTo>
                  <a:cubicBezTo>
                    <a:pt x="249687" y="46079"/>
                    <a:pt x="235358" y="31750"/>
                    <a:pt x="217683" y="31750"/>
                  </a:cubicBezTo>
                  <a:close/>
                  <a:moveTo>
                    <a:pt x="136392" y="31750"/>
                  </a:moveTo>
                  <a:cubicBezTo>
                    <a:pt x="118717" y="31750"/>
                    <a:pt x="104388" y="46079"/>
                    <a:pt x="104388" y="63754"/>
                  </a:cubicBezTo>
                  <a:cubicBezTo>
                    <a:pt x="104388" y="81429"/>
                    <a:pt x="118717" y="95758"/>
                    <a:pt x="136392" y="95758"/>
                  </a:cubicBezTo>
                  <a:cubicBezTo>
                    <a:pt x="154067" y="95758"/>
                    <a:pt x="168396" y="81429"/>
                    <a:pt x="168396" y="63754"/>
                  </a:cubicBezTo>
                  <a:cubicBezTo>
                    <a:pt x="168396" y="46079"/>
                    <a:pt x="154067" y="31750"/>
                    <a:pt x="136392" y="31750"/>
                  </a:cubicBezTo>
                  <a:close/>
                  <a:moveTo>
                    <a:pt x="55100" y="31750"/>
                  </a:moveTo>
                  <a:cubicBezTo>
                    <a:pt x="37425" y="31750"/>
                    <a:pt x="23096" y="46079"/>
                    <a:pt x="23096" y="63754"/>
                  </a:cubicBezTo>
                  <a:cubicBezTo>
                    <a:pt x="23096" y="81429"/>
                    <a:pt x="37425" y="95758"/>
                    <a:pt x="55100" y="95758"/>
                  </a:cubicBezTo>
                  <a:cubicBezTo>
                    <a:pt x="72775" y="95758"/>
                    <a:pt x="87104" y="81429"/>
                    <a:pt x="87104" y="63754"/>
                  </a:cubicBezTo>
                  <a:cubicBezTo>
                    <a:pt x="87104" y="46079"/>
                    <a:pt x="72775" y="31750"/>
                    <a:pt x="55100" y="31750"/>
                  </a:cubicBezTo>
                  <a:close/>
                  <a:moveTo>
                    <a:pt x="27255" y="0"/>
                  </a:moveTo>
                  <a:lnTo>
                    <a:pt x="747387" y="0"/>
                  </a:lnTo>
                  <a:cubicBezTo>
                    <a:pt x="762440" y="0"/>
                    <a:pt x="774642" y="12202"/>
                    <a:pt x="774642" y="27255"/>
                  </a:cubicBezTo>
                  <a:lnTo>
                    <a:pt x="774642" y="641083"/>
                  </a:lnTo>
                  <a:cubicBezTo>
                    <a:pt x="774642" y="656136"/>
                    <a:pt x="762440" y="668338"/>
                    <a:pt x="747387" y="668338"/>
                  </a:cubicBezTo>
                  <a:lnTo>
                    <a:pt x="27255" y="668338"/>
                  </a:lnTo>
                  <a:cubicBezTo>
                    <a:pt x="12202" y="668338"/>
                    <a:pt x="0" y="656136"/>
                    <a:pt x="0" y="641083"/>
                  </a:cubicBezTo>
                  <a:lnTo>
                    <a:pt x="0" y="27255"/>
                  </a:lnTo>
                  <a:cubicBezTo>
                    <a:pt x="0" y="12202"/>
                    <a:pt x="12202" y="0"/>
                    <a:pt x="27255" y="0"/>
                  </a:cubicBezTo>
                  <a:close/>
                </a:path>
              </a:pathLst>
            </a:custGeom>
            <a:solidFill>
              <a:schemeClr val="accent3">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68570" tIns="34285" rIns="34285" bIns="68570" numCol="1" spcCol="0" rtlCol="0" fromWordArt="0" anchor="b" anchorCtr="0" forceAA="0" compatLnSpc="1">
              <a:prstTxWarp prst="textNoShape">
                <a:avLst/>
              </a:prstTxWarp>
              <a:noAutofit/>
            </a:bodyPr>
            <a:lstStyle/>
            <a:p>
              <a:pPr algn="ctr" defTabSz="685513" fontAlgn="base">
                <a:spcBef>
                  <a:spcPct val="0"/>
                </a:spcBef>
                <a:spcAft>
                  <a:spcPct val="0"/>
                </a:spcAft>
                <a:defRPr/>
              </a:pPr>
              <a:endParaRPr lang="en-US" sz="1350" kern="0" spc="-38" dirty="0" err="1">
                <a:gradFill>
                  <a:gsLst>
                    <a:gs pos="0">
                      <a:srgbClr val="FFFFFF"/>
                    </a:gs>
                    <a:gs pos="100000">
                      <a:srgbClr val="FFFFFF"/>
                    </a:gs>
                  </a:gsLst>
                  <a:lin ang="5400000" scaled="0"/>
                </a:gradFill>
                <a:ea typeface="Segoe UI" pitchFamily="34" charset="0"/>
                <a:cs typeface="Segoe UI" pitchFamily="34" charset="0"/>
              </a:endParaRPr>
            </a:p>
          </p:txBody>
        </p:sp>
        <p:sp>
          <p:nvSpPr>
            <p:cNvPr id="80" name="Rectangle 79"/>
            <p:cNvSpPr/>
            <p:nvPr/>
          </p:nvSpPr>
          <p:spPr>
            <a:xfrm>
              <a:off x="1600390" y="5588589"/>
              <a:ext cx="818785" cy="487976"/>
            </a:xfrm>
            <a:prstGeom prst="rect">
              <a:avLst/>
            </a:prstGeom>
          </p:spPr>
          <p:txBody>
            <a:bodyPr wrap="none" lIns="0" tIns="0" rIns="0" bIns="0">
              <a:spAutoFit/>
            </a:bodyPr>
            <a:lstStyle/>
            <a:p>
              <a:pPr algn="ctr" defTabSz="932597"/>
              <a:r>
                <a:rPr lang="en-US" sz="1049" dirty="0">
                  <a:solidFill>
                    <a:srgbClr val="505050"/>
                  </a:solidFill>
                </a:rPr>
                <a:t>Intranet</a:t>
              </a:r>
            </a:p>
            <a:p>
              <a:pPr algn="ctr" defTabSz="932597"/>
              <a:r>
                <a:rPr lang="en-US" sz="1049" dirty="0">
                  <a:solidFill>
                    <a:srgbClr val="505050"/>
                  </a:solidFill>
                </a:rPr>
                <a:t>Resource</a:t>
              </a:r>
            </a:p>
          </p:txBody>
        </p:sp>
      </p:grpSp>
      <p:grpSp>
        <p:nvGrpSpPr>
          <p:cNvPr id="84" name="Group 83"/>
          <p:cNvGrpSpPr/>
          <p:nvPr/>
        </p:nvGrpSpPr>
        <p:grpSpPr>
          <a:xfrm flipH="1">
            <a:off x="5611240" y="3904722"/>
            <a:ext cx="1165695" cy="268155"/>
            <a:chOff x="4841549" y="3580049"/>
            <a:chExt cx="1554480" cy="357591"/>
          </a:xfrm>
        </p:grpSpPr>
        <p:cxnSp>
          <p:nvCxnSpPr>
            <p:cNvPr id="85" name="Straight Arrow Connector 84"/>
            <p:cNvCxnSpPr/>
            <p:nvPr/>
          </p:nvCxnSpPr>
          <p:spPr>
            <a:xfrm flipH="1">
              <a:off x="4841549" y="3762929"/>
              <a:ext cx="1554480" cy="0"/>
            </a:xfrm>
            <a:prstGeom prst="straightConnector1">
              <a:avLst/>
            </a:prstGeom>
            <a:ln w="76200">
              <a:solidFill>
                <a:schemeClr val="bg2">
                  <a:lumMod val="50000"/>
                </a:schemeClr>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86" name="TextBox 85"/>
            <p:cNvSpPr txBox="1"/>
            <p:nvPr/>
          </p:nvSpPr>
          <p:spPr>
            <a:xfrm flipH="1">
              <a:off x="5393454" y="3580049"/>
              <a:ext cx="365761" cy="357591"/>
            </a:xfrm>
            <a:prstGeom prst="ellipse">
              <a:avLst/>
            </a:prstGeom>
            <a:solidFill>
              <a:schemeClr val="bg1">
                <a:lumMod val="95000"/>
              </a:schemeClr>
            </a:solidFill>
            <a:ln w="57150">
              <a:solidFill>
                <a:schemeClr val="bg2">
                  <a:lumMod val="50000"/>
                </a:schemeClr>
              </a:solidFill>
            </a:ln>
          </p:spPr>
          <p:txBody>
            <a:bodyPr wrap="square" lIns="0" tIns="0" rIns="0" bIns="0" rtlCol="0">
              <a:spAutoFit/>
            </a:bodyPr>
            <a:lstStyle/>
            <a:p>
              <a:pPr algn="ctr" defTabSz="932597">
                <a:lnSpc>
                  <a:spcPct val="90000"/>
                </a:lnSpc>
                <a:spcAft>
                  <a:spcPts val="450"/>
                </a:spcAft>
              </a:pPr>
              <a:r>
                <a:rPr lang="en-US" sz="1350" dirty="0">
                  <a:solidFill>
                    <a:srgbClr val="505050"/>
                  </a:solidFill>
                </a:rPr>
                <a:t>4</a:t>
              </a:r>
              <a:endParaRPr lang="en-US" dirty="0">
                <a:solidFill>
                  <a:srgbClr val="505050"/>
                </a:solidFill>
              </a:endParaRPr>
            </a:p>
          </p:txBody>
        </p:sp>
      </p:grpSp>
      <p:grpSp>
        <p:nvGrpSpPr>
          <p:cNvPr id="87" name="Group 86"/>
          <p:cNvGrpSpPr/>
          <p:nvPr/>
        </p:nvGrpSpPr>
        <p:grpSpPr>
          <a:xfrm flipH="1">
            <a:off x="5611240" y="4827783"/>
            <a:ext cx="1165695" cy="268155"/>
            <a:chOff x="4841549" y="3580049"/>
            <a:chExt cx="1554480" cy="357591"/>
          </a:xfrm>
        </p:grpSpPr>
        <p:cxnSp>
          <p:nvCxnSpPr>
            <p:cNvPr id="88" name="Straight Arrow Connector 87"/>
            <p:cNvCxnSpPr/>
            <p:nvPr/>
          </p:nvCxnSpPr>
          <p:spPr>
            <a:xfrm flipH="1">
              <a:off x="4841549" y="3762929"/>
              <a:ext cx="1554480" cy="0"/>
            </a:xfrm>
            <a:prstGeom prst="straightConnector1">
              <a:avLst/>
            </a:prstGeom>
            <a:ln w="76200">
              <a:solidFill>
                <a:schemeClr val="bg2">
                  <a:lumMod val="50000"/>
                </a:schemeClr>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89" name="TextBox 88"/>
            <p:cNvSpPr txBox="1"/>
            <p:nvPr/>
          </p:nvSpPr>
          <p:spPr>
            <a:xfrm flipH="1">
              <a:off x="5393454" y="3580049"/>
              <a:ext cx="365761" cy="357591"/>
            </a:xfrm>
            <a:prstGeom prst="ellipse">
              <a:avLst/>
            </a:prstGeom>
            <a:solidFill>
              <a:schemeClr val="bg1">
                <a:lumMod val="95000"/>
              </a:schemeClr>
            </a:solidFill>
            <a:ln w="57150">
              <a:solidFill>
                <a:schemeClr val="bg2">
                  <a:lumMod val="50000"/>
                </a:schemeClr>
              </a:solidFill>
            </a:ln>
          </p:spPr>
          <p:txBody>
            <a:bodyPr wrap="square" lIns="0" tIns="0" rIns="0" bIns="0" rtlCol="0">
              <a:spAutoFit/>
            </a:bodyPr>
            <a:lstStyle/>
            <a:p>
              <a:pPr algn="ctr" defTabSz="932597">
                <a:lnSpc>
                  <a:spcPct val="90000"/>
                </a:lnSpc>
                <a:spcAft>
                  <a:spcPts val="450"/>
                </a:spcAft>
              </a:pPr>
              <a:r>
                <a:rPr lang="en-US" sz="1350" dirty="0">
                  <a:solidFill>
                    <a:srgbClr val="505050"/>
                  </a:solidFill>
                </a:rPr>
                <a:t>4</a:t>
              </a:r>
              <a:endParaRPr lang="en-US" dirty="0">
                <a:solidFill>
                  <a:srgbClr val="505050"/>
                </a:solidFill>
              </a:endParaRPr>
            </a:p>
          </p:txBody>
        </p:sp>
      </p:grpSp>
      <p:sp>
        <p:nvSpPr>
          <p:cNvPr id="90" name="TextBox 89"/>
          <p:cNvSpPr txBox="1"/>
          <p:nvPr/>
        </p:nvSpPr>
        <p:spPr>
          <a:xfrm flipH="1">
            <a:off x="7882042" y="3583063"/>
            <a:ext cx="1005912" cy="233073"/>
          </a:xfrm>
          <a:prstGeom prst="rect">
            <a:avLst/>
          </a:prstGeom>
          <a:noFill/>
        </p:spPr>
        <p:txBody>
          <a:bodyPr wrap="square" lIns="0" tIns="0" rIns="0" bIns="0" rtlCol="0">
            <a:spAutoFit/>
          </a:bodyPr>
          <a:lstStyle/>
          <a:p>
            <a:pPr algn="ctr" defTabSz="932597">
              <a:lnSpc>
                <a:spcPct val="90000"/>
              </a:lnSpc>
              <a:spcAft>
                <a:spcPts val="450"/>
              </a:spcAft>
            </a:pPr>
            <a:r>
              <a:rPr lang="en-US" sz="825" dirty="0">
                <a:gradFill>
                  <a:gsLst>
                    <a:gs pos="2917">
                      <a:srgbClr val="505050"/>
                    </a:gs>
                    <a:gs pos="30000">
                      <a:srgbClr val="505050"/>
                    </a:gs>
                  </a:gsLst>
                  <a:lin ang="5400000" scaled="0"/>
                </a:gradFill>
              </a:rPr>
              <a:t>Here is your authentication token</a:t>
            </a:r>
          </a:p>
        </p:txBody>
      </p:sp>
      <p:sp>
        <p:nvSpPr>
          <p:cNvPr id="91" name="TextBox 90"/>
          <p:cNvSpPr txBox="1"/>
          <p:nvPr/>
        </p:nvSpPr>
        <p:spPr>
          <a:xfrm flipH="1">
            <a:off x="5600790" y="3689817"/>
            <a:ext cx="1250269" cy="116537"/>
          </a:xfrm>
          <a:prstGeom prst="rect">
            <a:avLst/>
          </a:prstGeom>
          <a:noFill/>
        </p:spPr>
        <p:txBody>
          <a:bodyPr wrap="square" lIns="0" tIns="0" rIns="0" bIns="0" rtlCol="0">
            <a:spAutoFit/>
          </a:bodyPr>
          <a:lstStyle/>
          <a:p>
            <a:pPr algn="ctr" defTabSz="932597">
              <a:lnSpc>
                <a:spcPct val="90000"/>
              </a:lnSpc>
              <a:spcAft>
                <a:spcPts val="450"/>
              </a:spcAft>
            </a:pPr>
            <a:r>
              <a:rPr lang="en-US" sz="825" dirty="0">
                <a:gradFill>
                  <a:gsLst>
                    <a:gs pos="2917">
                      <a:srgbClr val="505050"/>
                    </a:gs>
                    <a:gs pos="30000">
                      <a:srgbClr val="505050"/>
                    </a:gs>
                  </a:gsLst>
                  <a:lin ang="5400000" scaled="0"/>
                </a:gradFill>
              </a:rPr>
              <a:t>I trust tokens from IDP</a:t>
            </a:r>
          </a:p>
        </p:txBody>
      </p:sp>
      <p:sp>
        <p:nvSpPr>
          <p:cNvPr id="92" name="TextBox 91"/>
          <p:cNvSpPr txBox="1"/>
          <p:nvPr/>
        </p:nvSpPr>
        <p:spPr>
          <a:xfrm flipH="1">
            <a:off x="5824932" y="4633519"/>
            <a:ext cx="801982" cy="116537"/>
          </a:xfrm>
          <a:prstGeom prst="rect">
            <a:avLst/>
          </a:prstGeom>
          <a:noFill/>
        </p:spPr>
        <p:txBody>
          <a:bodyPr wrap="square" lIns="0" tIns="0" rIns="0" bIns="0" rtlCol="0">
            <a:spAutoFit/>
          </a:bodyPr>
          <a:lstStyle/>
          <a:p>
            <a:pPr algn="ctr" defTabSz="932597">
              <a:lnSpc>
                <a:spcPct val="90000"/>
              </a:lnSpc>
              <a:spcAft>
                <a:spcPts val="450"/>
              </a:spcAft>
            </a:pPr>
            <a:r>
              <a:rPr lang="en-US" sz="825" dirty="0">
                <a:gradFill>
                  <a:gsLst>
                    <a:gs pos="2917">
                      <a:srgbClr val="505050"/>
                    </a:gs>
                    <a:gs pos="30000">
                      <a:srgbClr val="505050"/>
                    </a:gs>
                  </a:gsLst>
                  <a:lin ang="5400000" scaled="0"/>
                </a:gradFill>
              </a:rPr>
              <a:t>So do I</a:t>
            </a:r>
          </a:p>
        </p:txBody>
      </p:sp>
      <p:grpSp>
        <p:nvGrpSpPr>
          <p:cNvPr id="93" name="Group 92"/>
          <p:cNvGrpSpPr>
            <a:grpSpLocks noChangeAspect="1"/>
          </p:cNvGrpSpPr>
          <p:nvPr/>
        </p:nvGrpSpPr>
        <p:grpSpPr>
          <a:xfrm>
            <a:off x="4769397" y="4648170"/>
            <a:ext cx="715292" cy="617133"/>
            <a:chOff x="1494617" y="5321228"/>
            <a:chExt cx="1059841" cy="914400"/>
          </a:xfrm>
        </p:grpSpPr>
        <p:sp>
          <p:nvSpPr>
            <p:cNvPr id="94" name="Rounded Rectangle 2067"/>
            <p:cNvSpPr>
              <a:spLocks noChangeAspect="1"/>
            </p:cNvSpPr>
            <p:nvPr/>
          </p:nvSpPr>
          <p:spPr bwMode="auto">
            <a:xfrm>
              <a:off x="1494617" y="5321228"/>
              <a:ext cx="1059841" cy="914400"/>
            </a:xfrm>
            <a:custGeom>
              <a:avLst/>
              <a:gdLst/>
              <a:ahLst/>
              <a:cxnLst/>
              <a:rect l="l" t="t" r="r" b="b"/>
              <a:pathLst>
                <a:path w="774642" h="668338">
                  <a:moveTo>
                    <a:pt x="23096" y="125998"/>
                  </a:moveTo>
                  <a:lnTo>
                    <a:pt x="23096" y="644525"/>
                  </a:lnTo>
                  <a:lnTo>
                    <a:pt x="751547" y="644525"/>
                  </a:lnTo>
                  <a:lnTo>
                    <a:pt x="751547" y="125998"/>
                  </a:lnTo>
                  <a:close/>
                  <a:moveTo>
                    <a:pt x="217683" y="31750"/>
                  </a:moveTo>
                  <a:cubicBezTo>
                    <a:pt x="200008" y="31750"/>
                    <a:pt x="185679" y="46079"/>
                    <a:pt x="185679" y="63754"/>
                  </a:cubicBezTo>
                  <a:cubicBezTo>
                    <a:pt x="185679" y="81429"/>
                    <a:pt x="200008" y="95758"/>
                    <a:pt x="217683" y="95758"/>
                  </a:cubicBezTo>
                  <a:cubicBezTo>
                    <a:pt x="235358" y="95758"/>
                    <a:pt x="249687" y="81429"/>
                    <a:pt x="249687" y="63754"/>
                  </a:cubicBezTo>
                  <a:cubicBezTo>
                    <a:pt x="249687" y="46079"/>
                    <a:pt x="235358" y="31750"/>
                    <a:pt x="217683" y="31750"/>
                  </a:cubicBezTo>
                  <a:close/>
                  <a:moveTo>
                    <a:pt x="136392" y="31750"/>
                  </a:moveTo>
                  <a:cubicBezTo>
                    <a:pt x="118717" y="31750"/>
                    <a:pt x="104388" y="46079"/>
                    <a:pt x="104388" y="63754"/>
                  </a:cubicBezTo>
                  <a:cubicBezTo>
                    <a:pt x="104388" y="81429"/>
                    <a:pt x="118717" y="95758"/>
                    <a:pt x="136392" y="95758"/>
                  </a:cubicBezTo>
                  <a:cubicBezTo>
                    <a:pt x="154067" y="95758"/>
                    <a:pt x="168396" y="81429"/>
                    <a:pt x="168396" y="63754"/>
                  </a:cubicBezTo>
                  <a:cubicBezTo>
                    <a:pt x="168396" y="46079"/>
                    <a:pt x="154067" y="31750"/>
                    <a:pt x="136392" y="31750"/>
                  </a:cubicBezTo>
                  <a:close/>
                  <a:moveTo>
                    <a:pt x="55100" y="31750"/>
                  </a:moveTo>
                  <a:cubicBezTo>
                    <a:pt x="37425" y="31750"/>
                    <a:pt x="23096" y="46079"/>
                    <a:pt x="23096" y="63754"/>
                  </a:cubicBezTo>
                  <a:cubicBezTo>
                    <a:pt x="23096" y="81429"/>
                    <a:pt x="37425" y="95758"/>
                    <a:pt x="55100" y="95758"/>
                  </a:cubicBezTo>
                  <a:cubicBezTo>
                    <a:pt x="72775" y="95758"/>
                    <a:pt x="87104" y="81429"/>
                    <a:pt x="87104" y="63754"/>
                  </a:cubicBezTo>
                  <a:cubicBezTo>
                    <a:pt x="87104" y="46079"/>
                    <a:pt x="72775" y="31750"/>
                    <a:pt x="55100" y="31750"/>
                  </a:cubicBezTo>
                  <a:close/>
                  <a:moveTo>
                    <a:pt x="27255" y="0"/>
                  </a:moveTo>
                  <a:lnTo>
                    <a:pt x="747387" y="0"/>
                  </a:lnTo>
                  <a:cubicBezTo>
                    <a:pt x="762440" y="0"/>
                    <a:pt x="774642" y="12202"/>
                    <a:pt x="774642" y="27255"/>
                  </a:cubicBezTo>
                  <a:lnTo>
                    <a:pt x="774642" y="641083"/>
                  </a:lnTo>
                  <a:cubicBezTo>
                    <a:pt x="774642" y="656136"/>
                    <a:pt x="762440" y="668338"/>
                    <a:pt x="747387" y="668338"/>
                  </a:cubicBezTo>
                  <a:lnTo>
                    <a:pt x="27255" y="668338"/>
                  </a:lnTo>
                  <a:cubicBezTo>
                    <a:pt x="12202" y="668338"/>
                    <a:pt x="0" y="656136"/>
                    <a:pt x="0" y="641083"/>
                  </a:cubicBezTo>
                  <a:lnTo>
                    <a:pt x="0" y="27255"/>
                  </a:lnTo>
                  <a:cubicBezTo>
                    <a:pt x="0" y="12202"/>
                    <a:pt x="12202" y="0"/>
                    <a:pt x="27255" y="0"/>
                  </a:cubicBezTo>
                  <a:close/>
                </a:path>
              </a:pathLst>
            </a:custGeom>
            <a:solidFill>
              <a:schemeClr val="accent3">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68570" tIns="34285" rIns="34285" bIns="68570" numCol="1" spcCol="0" rtlCol="0" fromWordArt="0" anchor="b" anchorCtr="0" forceAA="0" compatLnSpc="1">
              <a:prstTxWarp prst="textNoShape">
                <a:avLst/>
              </a:prstTxWarp>
              <a:noAutofit/>
            </a:bodyPr>
            <a:lstStyle/>
            <a:p>
              <a:pPr algn="ctr" defTabSz="685513" fontAlgn="base">
                <a:spcBef>
                  <a:spcPct val="0"/>
                </a:spcBef>
                <a:spcAft>
                  <a:spcPct val="0"/>
                </a:spcAft>
                <a:defRPr/>
              </a:pPr>
              <a:endParaRPr lang="en-US" sz="1350" kern="0" spc="-38" dirty="0" err="1">
                <a:gradFill>
                  <a:gsLst>
                    <a:gs pos="0">
                      <a:srgbClr val="FFFFFF"/>
                    </a:gs>
                    <a:gs pos="100000">
                      <a:srgbClr val="FFFFFF"/>
                    </a:gs>
                  </a:gsLst>
                  <a:lin ang="5400000" scaled="0"/>
                </a:gradFill>
                <a:ea typeface="Segoe UI" pitchFamily="34" charset="0"/>
                <a:cs typeface="Segoe UI" pitchFamily="34" charset="0"/>
              </a:endParaRPr>
            </a:p>
          </p:txBody>
        </p:sp>
        <p:sp>
          <p:nvSpPr>
            <p:cNvPr id="95" name="Rectangle 94"/>
            <p:cNvSpPr/>
            <p:nvPr/>
          </p:nvSpPr>
          <p:spPr>
            <a:xfrm>
              <a:off x="1600390" y="5588589"/>
              <a:ext cx="818785" cy="487976"/>
            </a:xfrm>
            <a:prstGeom prst="rect">
              <a:avLst/>
            </a:prstGeom>
          </p:spPr>
          <p:txBody>
            <a:bodyPr wrap="none" lIns="0" tIns="0" rIns="0" bIns="0">
              <a:spAutoFit/>
            </a:bodyPr>
            <a:lstStyle/>
            <a:p>
              <a:pPr algn="ctr" defTabSz="932597"/>
              <a:r>
                <a:rPr lang="en-US" sz="1049" dirty="0">
                  <a:solidFill>
                    <a:srgbClr val="505050"/>
                  </a:solidFill>
                </a:rPr>
                <a:t>Intranet</a:t>
              </a:r>
            </a:p>
            <a:p>
              <a:pPr algn="ctr" defTabSz="932597"/>
              <a:r>
                <a:rPr lang="en-US" sz="1049" dirty="0">
                  <a:solidFill>
                    <a:srgbClr val="505050"/>
                  </a:solidFill>
                </a:rPr>
                <a:t>Resource</a:t>
              </a:r>
            </a:p>
          </p:txBody>
        </p:sp>
      </p:grpSp>
      <p:sp>
        <p:nvSpPr>
          <p:cNvPr id="74" name="TextBox 73"/>
          <p:cNvSpPr txBox="1"/>
          <p:nvPr/>
        </p:nvSpPr>
        <p:spPr>
          <a:xfrm>
            <a:off x="670884" y="4038799"/>
            <a:ext cx="3887913" cy="1052564"/>
          </a:xfrm>
          <a:prstGeom prst="rect">
            <a:avLst/>
          </a:prstGeom>
          <a:noFill/>
        </p:spPr>
        <p:txBody>
          <a:bodyPr wrap="square" lIns="137141" tIns="109712" rIns="137141" bIns="109712" rtlCol="0">
            <a:spAutoFit/>
          </a:bodyPr>
          <a:lstStyle/>
          <a:p>
            <a:pPr defTabSz="932597">
              <a:lnSpc>
                <a:spcPct val="90000"/>
              </a:lnSpc>
              <a:spcAft>
                <a:spcPts val="450"/>
              </a:spcAft>
            </a:pPr>
            <a:r>
              <a:rPr lang="en-US" sz="3000" b="1" spc="-75" dirty="0">
                <a:ln w="3175">
                  <a:noFill/>
                </a:ln>
                <a:solidFill>
                  <a:srgbClr val="00BDF3"/>
                </a:solidFill>
              </a:rPr>
              <a:t>A NEW APPROACH: </a:t>
            </a:r>
            <a:r>
              <a:rPr lang="en-US" sz="3000" b="1" spc="-75" dirty="0" smtClean="0">
                <a:ln w="3175">
                  <a:noFill/>
                </a:ln>
                <a:solidFill>
                  <a:srgbClr val="00BDF3"/>
                </a:solidFill>
              </a:rPr>
              <a:t>PASSPORT BASED</a:t>
            </a:r>
            <a:endParaRPr lang="en-US" sz="3000" b="1" spc="-75" dirty="0">
              <a:ln w="3175">
                <a:noFill/>
              </a:ln>
              <a:solidFill>
                <a:srgbClr val="00BDF3"/>
              </a:solidFill>
            </a:endParaRPr>
          </a:p>
        </p:txBody>
      </p:sp>
      <p:sp>
        <p:nvSpPr>
          <p:cNvPr id="76" name="TextBox 75"/>
          <p:cNvSpPr txBox="1"/>
          <p:nvPr/>
        </p:nvSpPr>
        <p:spPr>
          <a:xfrm flipH="1">
            <a:off x="3676302" y="2975938"/>
            <a:ext cx="1066457" cy="349610"/>
          </a:xfrm>
          <a:prstGeom prst="rect">
            <a:avLst/>
          </a:prstGeom>
          <a:noFill/>
        </p:spPr>
        <p:txBody>
          <a:bodyPr wrap="square" lIns="0" tIns="0" rIns="0" bIns="0" rtlCol="0">
            <a:spAutoFit/>
          </a:bodyPr>
          <a:lstStyle/>
          <a:p>
            <a:pPr algn="ctr" defTabSz="932597">
              <a:lnSpc>
                <a:spcPct val="90000"/>
              </a:lnSpc>
              <a:spcAft>
                <a:spcPts val="450"/>
              </a:spcAft>
            </a:pPr>
            <a:r>
              <a:rPr lang="en-US" sz="825" dirty="0">
                <a:gradFill>
                  <a:gsLst>
                    <a:gs pos="2917">
                      <a:srgbClr val="505050"/>
                    </a:gs>
                    <a:gs pos="30000">
                      <a:srgbClr val="505050"/>
                    </a:gs>
                  </a:gsLst>
                  <a:lin ang="5400000" scaled="0"/>
                </a:gradFill>
              </a:rPr>
              <a:t>User Unlock Windows identity container w/ PIN or Bio</a:t>
            </a:r>
          </a:p>
        </p:txBody>
      </p:sp>
    </p:spTree>
    <p:custDataLst>
      <p:tags r:id="rId1"/>
    </p:custDataLst>
    <p:extLst>
      <p:ext uri="{BB962C8B-B14F-4D97-AF65-F5344CB8AC3E}">
        <p14:creationId xmlns:p14="http://schemas.microsoft.com/office/powerpoint/2010/main" val="231958930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7"/>
                                        </p:tgtEl>
                                        <p:attrNameLst>
                                          <p:attrName>style.visibility</p:attrName>
                                        </p:attrNameLst>
                                      </p:cBhvr>
                                      <p:to>
                                        <p:strVal val="visible"/>
                                      </p:to>
                                    </p:set>
                                    <p:animEffect transition="in" filter="fade">
                                      <p:cBhvr>
                                        <p:cTn id="7" dur="500"/>
                                        <p:tgtEl>
                                          <p:spTgt spid="5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9"/>
                                        </p:tgtEl>
                                        <p:attrNameLst>
                                          <p:attrName>style.visibility</p:attrName>
                                        </p:attrNameLst>
                                      </p:cBhvr>
                                      <p:to>
                                        <p:strVal val="visible"/>
                                      </p:to>
                                    </p:set>
                                    <p:animEffect transition="in" filter="fade">
                                      <p:cBhvr>
                                        <p:cTn id="10" dur="500"/>
                                        <p:tgtEl>
                                          <p:spTgt spid="5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8"/>
                                        </p:tgtEl>
                                        <p:attrNameLst>
                                          <p:attrName>style.visibility</p:attrName>
                                        </p:attrNameLst>
                                      </p:cBhvr>
                                      <p:to>
                                        <p:strVal val="visible"/>
                                      </p:to>
                                    </p:set>
                                    <p:animEffect transition="in" filter="fade">
                                      <p:cBhvr>
                                        <p:cTn id="13" dur="500"/>
                                        <p:tgtEl>
                                          <p:spTgt spid="58"/>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60"/>
                                        </p:tgtEl>
                                        <p:attrNameLst>
                                          <p:attrName>style.visibility</p:attrName>
                                        </p:attrNameLst>
                                      </p:cBhvr>
                                      <p:to>
                                        <p:strVal val="visible"/>
                                      </p:to>
                                    </p:set>
                                    <p:animEffect transition="in" filter="fade">
                                      <p:cBhvr>
                                        <p:cTn id="18" dur="500"/>
                                        <p:tgtEl>
                                          <p:spTgt spid="60"/>
                                        </p:tgtEl>
                                      </p:cBhvr>
                                    </p:animEffect>
                                  </p:childTnLst>
                                </p:cTn>
                              </p:par>
                              <p:par>
                                <p:cTn id="19" presetID="10" presetClass="entr" presetSubtype="0" fill="hold" nodeType="withEffect">
                                  <p:stCondLst>
                                    <p:cond delay="0"/>
                                  </p:stCondLst>
                                  <p:childTnLst>
                                    <p:set>
                                      <p:cBhvr>
                                        <p:cTn id="20" dur="1" fill="hold">
                                          <p:stCondLst>
                                            <p:cond delay="0"/>
                                          </p:stCondLst>
                                        </p:cTn>
                                        <p:tgtEl>
                                          <p:spTgt spid="14"/>
                                        </p:tgtEl>
                                        <p:attrNameLst>
                                          <p:attrName>style.visibility</p:attrName>
                                        </p:attrNameLst>
                                      </p:cBhvr>
                                      <p:to>
                                        <p:strVal val="visible"/>
                                      </p:to>
                                    </p:set>
                                    <p:animEffect transition="in" filter="fade">
                                      <p:cBhvr>
                                        <p:cTn id="21" dur="500"/>
                                        <p:tgtEl>
                                          <p:spTgt spid="14"/>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76"/>
                                        </p:tgtEl>
                                        <p:attrNameLst>
                                          <p:attrName>style.visibility</p:attrName>
                                        </p:attrNameLst>
                                      </p:cBhvr>
                                      <p:to>
                                        <p:strVal val="visible"/>
                                      </p:to>
                                    </p:set>
                                    <p:animEffect transition="in" filter="fade">
                                      <p:cBhvr>
                                        <p:cTn id="24" dur="500"/>
                                        <p:tgtEl>
                                          <p:spTgt spid="76"/>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90"/>
                                        </p:tgtEl>
                                        <p:attrNameLst>
                                          <p:attrName>style.visibility</p:attrName>
                                        </p:attrNameLst>
                                      </p:cBhvr>
                                      <p:to>
                                        <p:strVal val="visible"/>
                                      </p:to>
                                    </p:set>
                                    <p:animEffect transition="in" filter="fade">
                                      <p:cBhvr>
                                        <p:cTn id="29" dur="500"/>
                                        <p:tgtEl>
                                          <p:spTgt spid="90"/>
                                        </p:tgtEl>
                                      </p:cBhvr>
                                    </p:animEffect>
                                  </p:childTnLst>
                                </p:cTn>
                              </p:par>
                              <p:par>
                                <p:cTn id="30" presetID="10" presetClass="entr" presetSubtype="0" fill="hold" nodeType="withEffect">
                                  <p:stCondLst>
                                    <p:cond delay="0"/>
                                  </p:stCondLst>
                                  <p:childTnLst>
                                    <p:set>
                                      <p:cBhvr>
                                        <p:cTn id="31" dur="1" fill="hold">
                                          <p:stCondLst>
                                            <p:cond delay="0"/>
                                          </p:stCondLst>
                                        </p:cTn>
                                        <p:tgtEl>
                                          <p:spTgt spid="6"/>
                                        </p:tgtEl>
                                        <p:attrNameLst>
                                          <p:attrName>style.visibility</p:attrName>
                                        </p:attrNameLst>
                                      </p:cBhvr>
                                      <p:to>
                                        <p:strVal val="visible"/>
                                      </p:to>
                                    </p:set>
                                    <p:animEffect transition="in" filter="fade">
                                      <p:cBhvr>
                                        <p:cTn id="32" dur="500"/>
                                        <p:tgtEl>
                                          <p:spTgt spid="6"/>
                                        </p:tgtEl>
                                      </p:cBhvr>
                                    </p:animEffect>
                                  </p:childTnLst>
                                </p:cTn>
                              </p:par>
                              <p:par>
                                <p:cTn id="33" presetID="10" presetClass="entr" presetSubtype="0" fill="hold" nodeType="withEffect">
                                  <p:stCondLst>
                                    <p:cond delay="0"/>
                                  </p:stCondLst>
                                  <p:childTnLst>
                                    <p:set>
                                      <p:cBhvr>
                                        <p:cTn id="34" dur="1" fill="hold">
                                          <p:stCondLst>
                                            <p:cond delay="0"/>
                                          </p:stCondLst>
                                        </p:cTn>
                                        <p:tgtEl>
                                          <p:spTgt spid="69"/>
                                        </p:tgtEl>
                                        <p:attrNameLst>
                                          <p:attrName>style.visibility</p:attrName>
                                        </p:attrNameLst>
                                      </p:cBhvr>
                                      <p:to>
                                        <p:strVal val="visible"/>
                                      </p:to>
                                    </p:set>
                                    <p:animEffect transition="in" filter="fade">
                                      <p:cBhvr>
                                        <p:cTn id="35" dur="500"/>
                                        <p:tgtEl>
                                          <p:spTgt spid="69"/>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91"/>
                                        </p:tgtEl>
                                        <p:attrNameLst>
                                          <p:attrName>style.visibility</p:attrName>
                                        </p:attrNameLst>
                                      </p:cBhvr>
                                      <p:to>
                                        <p:strVal val="visible"/>
                                      </p:to>
                                    </p:set>
                                    <p:animEffect transition="in" filter="fade">
                                      <p:cBhvr>
                                        <p:cTn id="40" dur="500"/>
                                        <p:tgtEl>
                                          <p:spTgt spid="91"/>
                                        </p:tgtEl>
                                      </p:cBhvr>
                                    </p:animEffect>
                                  </p:childTnLst>
                                </p:cTn>
                              </p:par>
                              <p:par>
                                <p:cTn id="41" presetID="10" presetClass="entr" presetSubtype="0" fill="hold" nodeType="withEffect">
                                  <p:stCondLst>
                                    <p:cond delay="0"/>
                                  </p:stCondLst>
                                  <p:childTnLst>
                                    <p:set>
                                      <p:cBhvr>
                                        <p:cTn id="42" dur="1" fill="hold">
                                          <p:stCondLst>
                                            <p:cond delay="0"/>
                                          </p:stCondLst>
                                        </p:cTn>
                                        <p:tgtEl>
                                          <p:spTgt spid="84"/>
                                        </p:tgtEl>
                                        <p:attrNameLst>
                                          <p:attrName>style.visibility</p:attrName>
                                        </p:attrNameLst>
                                      </p:cBhvr>
                                      <p:to>
                                        <p:strVal val="visible"/>
                                      </p:to>
                                    </p:set>
                                    <p:animEffect transition="in" filter="fade">
                                      <p:cBhvr>
                                        <p:cTn id="43" dur="500"/>
                                        <p:tgtEl>
                                          <p:spTgt spid="84"/>
                                        </p:tgtEl>
                                      </p:cBhvr>
                                    </p:animEffect>
                                  </p:childTnLst>
                                </p:cTn>
                              </p:par>
                              <p:par>
                                <p:cTn id="44" presetID="10" presetClass="entr" presetSubtype="0" fill="hold" nodeType="withEffect">
                                  <p:stCondLst>
                                    <p:cond delay="0"/>
                                  </p:stCondLst>
                                  <p:childTnLst>
                                    <p:set>
                                      <p:cBhvr>
                                        <p:cTn id="45" dur="1" fill="hold">
                                          <p:stCondLst>
                                            <p:cond delay="0"/>
                                          </p:stCondLst>
                                        </p:cTn>
                                        <p:tgtEl>
                                          <p:spTgt spid="78"/>
                                        </p:tgtEl>
                                        <p:attrNameLst>
                                          <p:attrName>style.visibility</p:attrName>
                                        </p:attrNameLst>
                                      </p:cBhvr>
                                      <p:to>
                                        <p:strVal val="visible"/>
                                      </p:to>
                                    </p:set>
                                    <p:animEffect transition="in" filter="fade">
                                      <p:cBhvr>
                                        <p:cTn id="46" dur="500"/>
                                        <p:tgtEl>
                                          <p:spTgt spid="78"/>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92"/>
                                        </p:tgtEl>
                                        <p:attrNameLst>
                                          <p:attrName>style.visibility</p:attrName>
                                        </p:attrNameLst>
                                      </p:cBhvr>
                                      <p:to>
                                        <p:strVal val="visible"/>
                                      </p:to>
                                    </p:set>
                                    <p:animEffect transition="in" filter="fade">
                                      <p:cBhvr>
                                        <p:cTn id="49" dur="500"/>
                                        <p:tgtEl>
                                          <p:spTgt spid="92"/>
                                        </p:tgtEl>
                                      </p:cBhvr>
                                    </p:animEffect>
                                  </p:childTnLst>
                                </p:cTn>
                              </p:par>
                              <p:par>
                                <p:cTn id="50" presetID="10" presetClass="entr" presetSubtype="0" fill="hold" nodeType="withEffect">
                                  <p:stCondLst>
                                    <p:cond delay="0"/>
                                  </p:stCondLst>
                                  <p:childTnLst>
                                    <p:set>
                                      <p:cBhvr>
                                        <p:cTn id="51" dur="1" fill="hold">
                                          <p:stCondLst>
                                            <p:cond delay="0"/>
                                          </p:stCondLst>
                                        </p:cTn>
                                        <p:tgtEl>
                                          <p:spTgt spid="87"/>
                                        </p:tgtEl>
                                        <p:attrNameLst>
                                          <p:attrName>style.visibility</p:attrName>
                                        </p:attrNameLst>
                                      </p:cBhvr>
                                      <p:to>
                                        <p:strVal val="visible"/>
                                      </p:to>
                                    </p:set>
                                    <p:animEffect transition="in" filter="fade">
                                      <p:cBhvr>
                                        <p:cTn id="52" dur="500"/>
                                        <p:tgtEl>
                                          <p:spTgt spid="87"/>
                                        </p:tgtEl>
                                      </p:cBhvr>
                                    </p:animEffect>
                                  </p:childTnLst>
                                </p:cTn>
                              </p:par>
                              <p:par>
                                <p:cTn id="53" presetID="10" presetClass="entr" presetSubtype="0" fill="hold" nodeType="withEffect">
                                  <p:stCondLst>
                                    <p:cond delay="0"/>
                                  </p:stCondLst>
                                  <p:childTnLst>
                                    <p:set>
                                      <p:cBhvr>
                                        <p:cTn id="54" dur="1" fill="hold">
                                          <p:stCondLst>
                                            <p:cond delay="0"/>
                                          </p:stCondLst>
                                        </p:cTn>
                                        <p:tgtEl>
                                          <p:spTgt spid="93"/>
                                        </p:tgtEl>
                                        <p:attrNameLst>
                                          <p:attrName>style.visibility</p:attrName>
                                        </p:attrNameLst>
                                      </p:cBhvr>
                                      <p:to>
                                        <p:strVal val="visible"/>
                                      </p:to>
                                    </p:set>
                                    <p:animEffect transition="in" filter="fade">
                                      <p:cBhvr>
                                        <p:cTn id="55" dur="500"/>
                                        <p:tgtEl>
                                          <p:spTgt spid="93"/>
                                        </p:tgtEl>
                                      </p:cBhvr>
                                    </p:animEffect>
                                  </p:childTnLst>
                                </p:cTn>
                              </p:par>
                            </p:childTnLst>
                          </p:cTn>
                        </p:par>
                      </p:childTnLst>
                    </p:cTn>
                  </p:par>
                  <p:par>
                    <p:cTn id="56" fill="hold">
                      <p:stCondLst>
                        <p:cond delay="indefinite"/>
                      </p:stCondLst>
                      <p:childTnLst>
                        <p:par>
                          <p:cTn id="57" fill="hold">
                            <p:stCondLst>
                              <p:cond delay="0"/>
                            </p:stCondLst>
                            <p:childTnLst>
                              <p:par>
                                <p:cTn id="58" presetID="10" presetClass="entr" presetSubtype="0" fill="hold" grpId="0" nodeType="clickEffect">
                                  <p:stCondLst>
                                    <p:cond delay="0"/>
                                  </p:stCondLst>
                                  <p:childTnLst>
                                    <p:set>
                                      <p:cBhvr>
                                        <p:cTn id="59" dur="1" fill="hold">
                                          <p:stCondLst>
                                            <p:cond delay="0"/>
                                          </p:stCondLst>
                                        </p:cTn>
                                        <p:tgtEl>
                                          <p:spTgt spid="75"/>
                                        </p:tgtEl>
                                        <p:attrNameLst>
                                          <p:attrName>style.visibility</p:attrName>
                                        </p:attrNameLst>
                                      </p:cBhvr>
                                      <p:to>
                                        <p:strVal val="visible"/>
                                      </p:to>
                                    </p:set>
                                    <p:animEffect transition="in" filter="fade">
                                      <p:cBhvr>
                                        <p:cTn id="60" dur="500"/>
                                        <p:tgtEl>
                                          <p:spTgt spid="75"/>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77"/>
                                        </p:tgtEl>
                                        <p:attrNameLst>
                                          <p:attrName>style.visibility</p:attrName>
                                        </p:attrNameLst>
                                      </p:cBhvr>
                                      <p:to>
                                        <p:strVal val="visible"/>
                                      </p:to>
                                    </p:set>
                                    <p:animEffect transition="in" filter="fade">
                                      <p:cBhvr>
                                        <p:cTn id="63" dur="500"/>
                                        <p:tgtEl>
                                          <p:spTgt spid="7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5" grpId="0" animBg="1"/>
      <p:bldP spid="77" grpId="0" animBg="1"/>
      <p:bldP spid="58" grpId="0" animBg="1"/>
      <p:bldP spid="59" grpId="0"/>
      <p:bldP spid="60" grpId="0"/>
      <p:bldP spid="90" grpId="0"/>
      <p:bldP spid="91" grpId="0"/>
      <p:bldP spid="92" grpId="0"/>
      <p:bldP spid="76"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1030" y="1509559"/>
            <a:ext cx="12436475" cy="5257800"/>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3" name="Title 2"/>
          <p:cNvSpPr>
            <a:spLocks noGrp="1"/>
          </p:cNvSpPr>
          <p:nvPr>
            <p:ph type="title"/>
          </p:nvPr>
        </p:nvSpPr>
        <p:spPr/>
        <p:txBody>
          <a:bodyPr/>
          <a:lstStyle/>
          <a:p>
            <a:r>
              <a:rPr lang="en-US" spc="-225" dirty="0"/>
              <a:t>Authentication For Orgs &amp; Consumers </a:t>
            </a:r>
          </a:p>
        </p:txBody>
      </p:sp>
      <p:sp>
        <p:nvSpPr>
          <p:cNvPr id="74" name="TextBox 73"/>
          <p:cNvSpPr txBox="1"/>
          <p:nvPr/>
        </p:nvSpPr>
        <p:spPr>
          <a:xfrm>
            <a:off x="354656" y="1916136"/>
            <a:ext cx="2741101" cy="1052564"/>
          </a:xfrm>
          <a:prstGeom prst="rect">
            <a:avLst/>
          </a:prstGeom>
          <a:noFill/>
        </p:spPr>
        <p:txBody>
          <a:bodyPr wrap="square" lIns="137141" tIns="109712" rIns="137141" bIns="109712" rtlCol="0">
            <a:spAutoFit/>
          </a:bodyPr>
          <a:lstStyle/>
          <a:p>
            <a:pPr>
              <a:lnSpc>
                <a:spcPct val="90000"/>
              </a:lnSpc>
              <a:spcAft>
                <a:spcPts val="450"/>
              </a:spcAft>
            </a:pPr>
            <a:r>
              <a:rPr lang="en-US" sz="3000" spc="-75" dirty="0" smtClean="0">
                <a:ln w="3175">
                  <a:noFill/>
                </a:ln>
                <a:solidFill>
                  <a:srgbClr val="00BCF2"/>
                </a:solidFill>
              </a:rPr>
              <a:t>Hardware Protected Keys</a:t>
            </a:r>
            <a:endParaRPr lang="en-US" sz="3000" spc="-75" dirty="0">
              <a:ln w="3175">
                <a:noFill/>
              </a:ln>
              <a:solidFill>
                <a:srgbClr val="00BCF2"/>
              </a:solidFill>
            </a:endParaRPr>
          </a:p>
        </p:txBody>
      </p:sp>
      <p:grpSp>
        <p:nvGrpSpPr>
          <p:cNvPr id="4" name="Group 3"/>
          <p:cNvGrpSpPr/>
          <p:nvPr/>
        </p:nvGrpSpPr>
        <p:grpSpPr>
          <a:xfrm>
            <a:off x="918160" y="2659062"/>
            <a:ext cx="10855639" cy="3398386"/>
            <a:chOff x="2829501" y="2661606"/>
            <a:chExt cx="7683188" cy="2405242"/>
          </a:xfrm>
          <a:solidFill>
            <a:schemeClr val="tx1">
              <a:lumMod val="85000"/>
            </a:schemeClr>
          </a:solidFill>
        </p:grpSpPr>
        <p:sp>
          <p:nvSpPr>
            <p:cNvPr id="82" name="Rectangle 81"/>
            <p:cNvSpPr/>
            <p:nvPr/>
          </p:nvSpPr>
          <p:spPr bwMode="auto">
            <a:xfrm>
              <a:off x="2829501" y="4324004"/>
              <a:ext cx="918938" cy="742844"/>
            </a:xfrm>
            <a:prstGeom prst="rect">
              <a:avLst/>
            </a:prstGeom>
            <a:grp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2" rIns="137141" bIns="109712" numCol="1" spcCol="0" rtlCol="0" fromWordArt="0" anchor="ctr" anchorCtr="0" forceAA="0" compatLnSpc="1">
              <a:prstTxWarp prst="textNoShape">
                <a:avLst/>
              </a:prstTxWarp>
              <a:noAutofit/>
            </a:bodyPr>
            <a:lstStyle/>
            <a:p>
              <a:pPr algn="ctr" defTabSz="699291" fontAlgn="base">
                <a:lnSpc>
                  <a:spcPct val="90000"/>
                </a:lnSpc>
                <a:spcBef>
                  <a:spcPct val="0"/>
                </a:spcBef>
                <a:spcAft>
                  <a:spcPct val="0"/>
                </a:spcAft>
              </a:pPr>
              <a:r>
                <a:rPr lang="en-US" dirty="0">
                  <a:gradFill>
                    <a:gsLst>
                      <a:gs pos="2917">
                        <a:srgbClr val="505050"/>
                      </a:gs>
                      <a:gs pos="30000">
                        <a:srgbClr val="505050"/>
                      </a:gs>
                    </a:gsLst>
                    <a:lin ang="5400000" scaled="0"/>
                  </a:gradFill>
                </a:rPr>
                <a:t>TPM</a:t>
              </a:r>
            </a:p>
          </p:txBody>
        </p:sp>
        <p:sp>
          <p:nvSpPr>
            <p:cNvPr id="83" name="Rectangle 82"/>
            <p:cNvSpPr/>
            <p:nvPr/>
          </p:nvSpPr>
          <p:spPr bwMode="auto">
            <a:xfrm>
              <a:off x="5233927" y="3039039"/>
              <a:ext cx="2318921" cy="1559396"/>
            </a:xfrm>
            <a:prstGeom prst="rect">
              <a:avLst/>
            </a:prstGeom>
            <a:grp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2" rIns="137141" bIns="109712" numCol="1" spcCol="0" rtlCol="0" fromWordArt="0" anchor="ctr" anchorCtr="0" forceAA="0" compatLnSpc="1">
              <a:prstTxWarp prst="textNoShape">
                <a:avLst/>
              </a:prstTxWarp>
              <a:noAutofit/>
            </a:bodyPr>
            <a:lstStyle/>
            <a:p>
              <a:pPr algn="ctr" defTabSz="699291" fontAlgn="base">
                <a:lnSpc>
                  <a:spcPct val="90000"/>
                </a:lnSpc>
                <a:spcBef>
                  <a:spcPct val="0"/>
                </a:spcBef>
                <a:spcAft>
                  <a:spcPct val="0"/>
                </a:spcAft>
              </a:pPr>
              <a:endParaRPr lang="en-US" dirty="0">
                <a:gradFill>
                  <a:gsLst>
                    <a:gs pos="2917">
                      <a:srgbClr val="505050"/>
                    </a:gs>
                    <a:gs pos="30000">
                      <a:srgbClr val="505050"/>
                    </a:gs>
                  </a:gsLst>
                  <a:lin ang="5400000" scaled="0"/>
                </a:gradFill>
              </a:endParaRPr>
            </a:p>
          </p:txBody>
        </p:sp>
        <p:sp>
          <p:nvSpPr>
            <p:cNvPr id="96" name="Rectangle 95"/>
            <p:cNvSpPr/>
            <p:nvPr/>
          </p:nvSpPr>
          <p:spPr>
            <a:xfrm>
              <a:off x="5704684" y="2682315"/>
              <a:ext cx="1151787" cy="212386"/>
            </a:xfrm>
            <a:prstGeom prst="rect">
              <a:avLst/>
            </a:prstGeom>
            <a:noFill/>
            <a:ln>
              <a:noFill/>
            </a:ln>
          </p:spPr>
          <p:txBody>
            <a:bodyPr wrap="none">
              <a:spAutoFit/>
            </a:bodyPr>
            <a:lstStyle/>
            <a:p>
              <a:r>
                <a:rPr lang="en-US" sz="1350" b="1" dirty="0">
                  <a:gradFill>
                    <a:gsLst>
                      <a:gs pos="2917">
                        <a:srgbClr val="505050"/>
                      </a:gs>
                      <a:gs pos="30000">
                        <a:srgbClr val="505050"/>
                      </a:gs>
                    </a:gsLst>
                    <a:lin ang="5400000" scaled="0"/>
                  </a:gradFill>
                </a:rPr>
                <a:t>Default Container</a:t>
              </a:r>
              <a:endParaRPr lang="en-US" sz="1350" b="1" dirty="0">
                <a:solidFill>
                  <a:srgbClr val="1A1A1A"/>
                </a:solidFill>
              </a:endParaRPr>
            </a:p>
          </p:txBody>
        </p:sp>
        <p:cxnSp>
          <p:nvCxnSpPr>
            <p:cNvPr id="97" name="Elbow Connector 96"/>
            <p:cNvCxnSpPr>
              <a:stCxn id="82" idx="2"/>
              <a:endCxn id="109" idx="1"/>
            </p:cNvCxnSpPr>
            <p:nvPr/>
          </p:nvCxnSpPr>
          <p:spPr>
            <a:xfrm rot="5400000" flipH="1" flipV="1">
              <a:off x="3954473" y="3532461"/>
              <a:ext cx="868883" cy="2199889"/>
            </a:xfrm>
            <a:prstGeom prst="bentConnector4">
              <a:avLst>
                <a:gd name="adj1" fmla="val -26833"/>
                <a:gd name="adj2" fmla="val 60443"/>
              </a:avLst>
            </a:prstGeom>
            <a:grpFill/>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98" name="Group 97"/>
            <p:cNvGrpSpPr/>
            <p:nvPr/>
          </p:nvGrpSpPr>
          <p:grpSpPr>
            <a:xfrm>
              <a:off x="5488860" y="3199853"/>
              <a:ext cx="1952849" cy="316185"/>
              <a:chOff x="8117013" y="5719293"/>
              <a:chExt cx="2604169" cy="421639"/>
            </a:xfrm>
            <a:grpFill/>
          </p:grpSpPr>
          <p:sp>
            <p:nvSpPr>
              <p:cNvPr id="99" name="Right Arrow 98"/>
              <p:cNvSpPr/>
              <p:nvPr/>
            </p:nvSpPr>
            <p:spPr bwMode="auto">
              <a:xfrm>
                <a:off x="8252352" y="5792610"/>
                <a:ext cx="310960" cy="249711"/>
              </a:xfrm>
              <a:prstGeom prst="rightArrow">
                <a:avLst/>
              </a:prstGeom>
              <a:solidFill>
                <a:srgbClr val="06BFF2"/>
              </a:solidFill>
              <a:ln>
                <a:solidFill>
                  <a:srgbClr val="00BC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2" rIns="137141" bIns="109712" numCol="1" spcCol="0" rtlCol="0" fromWordArt="0" anchor="t" anchorCtr="0" forceAA="0" compatLnSpc="1">
                <a:prstTxWarp prst="textNoShape">
                  <a:avLst/>
                </a:prstTxWarp>
                <a:noAutofit/>
              </a:bodyPr>
              <a:lstStyle/>
              <a:p>
                <a:pPr algn="ctr" defTabSz="699291" fontAlgn="base">
                  <a:lnSpc>
                    <a:spcPct val="90000"/>
                  </a:lnSpc>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100" name="Rectangle 99"/>
              <p:cNvSpPr/>
              <p:nvPr/>
            </p:nvSpPr>
            <p:spPr>
              <a:xfrm>
                <a:off x="8563312" y="5732800"/>
                <a:ext cx="2157870" cy="408132"/>
              </a:xfrm>
              <a:prstGeom prst="rect">
                <a:avLst/>
              </a:prstGeom>
              <a:grpFill/>
              <a:ln>
                <a:noFill/>
              </a:ln>
            </p:spPr>
            <p:txBody>
              <a:bodyPr wrap="none">
                <a:spAutoFit/>
              </a:bodyPr>
              <a:lstStyle/>
              <a:p>
                <a:r>
                  <a:rPr lang="en-US" sz="1350" dirty="0">
                    <a:gradFill>
                      <a:gsLst>
                        <a:gs pos="2917">
                          <a:srgbClr val="505050"/>
                        </a:gs>
                        <a:gs pos="30000">
                          <a:srgbClr val="505050"/>
                        </a:gs>
                      </a:gsLst>
                      <a:lin ang="5400000" scaled="0"/>
                    </a:gradFill>
                  </a:rPr>
                  <a:t>Microsoft Account</a:t>
                </a:r>
                <a:endParaRPr lang="en-US" sz="1350" dirty="0">
                  <a:solidFill>
                    <a:srgbClr val="1A1A1A"/>
                  </a:solidFill>
                </a:endParaRPr>
              </a:p>
            </p:txBody>
          </p:sp>
          <p:sp>
            <p:nvSpPr>
              <p:cNvPr id="101" name="Rectangle 100"/>
              <p:cNvSpPr/>
              <p:nvPr/>
            </p:nvSpPr>
            <p:spPr bwMode="auto">
              <a:xfrm>
                <a:off x="8117013" y="5719293"/>
                <a:ext cx="2604169" cy="416233"/>
              </a:xfrm>
              <a:prstGeom prst="rect">
                <a:avLst/>
              </a:prstGeom>
              <a:no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2" rIns="137141" bIns="109712" numCol="1" spcCol="0" rtlCol="0" fromWordArt="0" anchor="ctr" anchorCtr="0" forceAA="0" compatLnSpc="1">
                <a:prstTxWarp prst="textNoShape">
                  <a:avLst/>
                </a:prstTxWarp>
                <a:noAutofit/>
              </a:bodyPr>
              <a:lstStyle/>
              <a:p>
                <a:pPr algn="ctr" defTabSz="699291" fontAlgn="base">
                  <a:lnSpc>
                    <a:spcPct val="90000"/>
                  </a:lnSpc>
                  <a:spcBef>
                    <a:spcPct val="0"/>
                  </a:spcBef>
                  <a:spcAft>
                    <a:spcPct val="0"/>
                  </a:spcAft>
                </a:pPr>
                <a:endParaRPr lang="en-US" dirty="0">
                  <a:gradFill>
                    <a:gsLst>
                      <a:gs pos="2917">
                        <a:srgbClr val="505050"/>
                      </a:gs>
                      <a:gs pos="30000">
                        <a:srgbClr val="505050"/>
                      </a:gs>
                    </a:gsLst>
                    <a:lin ang="5400000" scaled="0"/>
                  </a:gradFill>
                </a:endParaRPr>
              </a:p>
            </p:txBody>
          </p:sp>
        </p:grpSp>
        <p:grpSp>
          <p:nvGrpSpPr>
            <p:cNvPr id="102" name="Group 101"/>
            <p:cNvGrpSpPr/>
            <p:nvPr/>
          </p:nvGrpSpPr>
          <p:grpSpPr>
            <a:xfrm>
              <a:off x="5486602" y="3619651"/>
              <a:ext cx="1947216" cy="318882"/>
              <a:chOff x="8117013" y="5719293"/>
              <a:chExt cx="2450848" cy="425237"/>
            </a:xfrm>
            <a:grpFill/>
          </p:grpSpPr>
          <p:sp>
            <p:nvSpPr>
              <p:cNvPr id="103" name="Right Arrow 102"/>
              <p:cNvSpPr/>
              <p:nvPr/>
            </p:nvSpPr>
            <p:spPr bwMode="auto">
              <a:xfrm>
                <a:off x="8252352" y="5792610"/>
                <a:ext cx="310960" cy="249711"/>
              </a:xfrm>
              <a:prstGeom prst="rightArrow">
                <a:avLst/>
              </a:prstGeom>
              <a:solidFill>
                <a:srgbClr val="06BFF2"/>
              </a:solidFill>
              <a:ln>
                <a:solidFill>
                  <a:srgbClr val="00BC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2" rIns="137141" bIns="109712" numCol="1" spcCol="0" rtlCol="0" fromWordArt="0" anchor="t" anchorCtr="0" forceAA="0" compatLnSpc="1">
                <a:prstTxWarp prst="textNoShape">
                  <a:avLst/>
                </a:prstTxWarp>
                <a:noAutofit/>
              </a:bodyPr>
              <a:lstStyle/>
              <a:p>
                <a:pPr algn="ctr" defTabSz="699291" fontAlgn="base">
                  <a:lnSpc>
                    <a:spcPct val="90000"/>
                  </a:lnSpc>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104" name="Rectangle 103"/>
              <p:cNvSpPr/>
              <p:nvPr/>
            </p:nvSpPr>
            <p:spPr>
              <a:xfrm>
                <a:off x="8563312" y="5732800"/>
                <a:ext cx="1817423" cy="408133"/>
              </a:xfrm>
              <a:prstGeom prst="rect">
                <a:avLst/>
              </a:prstGeom>
              <a:grpFill/>
              <a:ln>
                <a:noFill/>
              </a:ln>
            </p:spPr>
            <p:txBody>
              <a:bodyPr wrap="none">
                <a:spAutoFit/>
              </a:bodyPr>
              <a:lstStyle/>
              <a:p>
                <a:r>
                  <a:rPr lang="en-US" sz="1350" dirty="0">
                    <a:gradFill>
                      <a:gsLst>
                        <a:gs pos="2917">
                          <a:srgbClr val="505050"/>
                        </a:gs>
                        <a:gs pos="30000">
                          <a:srgbClr val="505050"/>
                        </a:gs>
                      </a:gsLst>
                      <a:lin ang="5400000" scaled="0"/>
                    </a:gradFill>
                  </a:rPr>
                  <a:t>Consumer IDP 1</a:t>
                </a:r>
                <a:endParaRPr lang="en-US" sz="1350" dirty="0">
                  <a:solidFill>
                    <a:srgbClr val="1A1A1A"/>
                  </a:solidFill>
                </a:endParaRPr>
              </a:p>
            </p:txBody>
          </p:sp>
          <p:sp>
            <p:nvSpPr>
              <p:cNvPr id="105" name="Rectangle 104"/>
              <p:cNvSpPr/>
              <p:nvPr/>
            </p:nvSpPr>
            <p:spPr bwMode="auto">
              <a:xfrm>
                <a:off x="8117013" y="5719293"/>
                <a:ext cx="2450848" cy="425237"/>
              </a:xfrm>
              <a:prstGeom prst="rect">
                <a:avLst/>
              </a:prstGeom>
              <a:no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2" rIns="137141" bIns="109712" numCol="1" spcCol="0" rtlCol="0" fromWordArt="0" anchor="ctr" anchorCtr="0" forceAA="0" compatLnSpc="1">
                <a:prstTxWarp prst="textNoShape">
                  <a:avLst/>
                </a:prstTxWarp>
                <a:noAutofit/>
              </a:bodyPr>
              <a:lstStyle/>
              <a:p>
                <a:pPr algn="ctr" defTabSz="699291" fontAlgn="base">
                  <a:lnSpc>
                    <a:spcPct val="90000"/>
                  </a:lnSpc>
                  <a:spcBef>
                    <a:spcPct val="0"/>
                  </a:spcBef>
                  <a:spcAft>
                    <a:spcPct val="0"/>
                  </a:spcAft>
                </a:pPr>
                <a:endParaRPr lang="en-US" dirty="0">
                  <a:gradFill>
                    <a:gsLst>
                      <a:gs pos="2917">
                        <a:srgbClr val="505050"/>
                      </a:gs>
                      <a:gs pos="30000">
                        <a:srgbClr val="505050"/>
                      </a:gs>
                    </a:gsLst>
                    <a:lin ang="5400000" scaled="0"/>
                  </a:gradFill>
                </a:endParaRPr>
              </a:p>
            </p:txBody>
          </p:sp>
        </p:grpSp>
        <p:grpSp>
          <p:nvGrpSpPr>
            <p:cNvPr id="106" name="Group 105"/>
            <p:cNvGrpSpPr/>
            <p:nvPr/>
          </p:nvGrpSpPr>
          <p:grpSpPr>
            <a:xfrm>
              <a:off x="5488860" y="4044347"/>
              <a:ext cx="1942700" cy="316185"/>
              <a:chOff x="8117013" y="5719293"/>
              <a:chExt cx="2450848" cy="421639"/>
            </a:xfrm>
            <a:grpFill/>
          </p:grpSpPr>
          <p:sp>
            <p:nvSpPr>
              <p:cNvPr id="107" name="Right Arrow 106"/>
              <p:cNvSpPr/>
              <p:nvPr/>
            </p:nvSpPr>
            <p:spPr bwMode="auto">
              <a:xfrm>
                <a:off x="8252352" y="5792610"/>
                <a:ext cx="310960" cy="249711"/>
              </a:xfrm>
              <a:prstGeom prst="rightArrow">
                <a:avLst/>
              </a:prstGeom>
              <a:solidFill>
                <a:srgbClr val="06BFF2"/>
              </a:solidFill>
              <a:ln>
                <a:solidFill>
                  <a:srgbClr val="00BC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2" rIns="137141" bIns="109712" numCol="1" spcCol="0" rtlCol="0" fromWordArt="0" anchor="t" anchorCtr="0" forceAA="0" compatLnSpc="1">
                <a:prstTxWarp prst="textNoShape">
                  <a:avLst/>
                </a:prstTxWarp>
                <a:noAutofit/>
              </a:bodyPr>
              <a:lstStyle/>
              <a:p>
                <a:pPr algn="ctr" defTabSz="699291" fontAlgn="base">
                  <a:lnSpc>
                    <a:spcPct val="90000"/>
                  </a:lnSpc>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108" name="Rectangle 107"/>
              <p:cNvSpPr/>
              <p:nvPr/>
            </p:nvSpPr>
            <p:spPr>
              <a:xfrm>
                <a:off x="8563312" y="5732800"/>
                <a:ext cx="1821649" cy="408132"/>
              </a:xfrm>
              <a:prstGeom prst="rect">
                <a:avLst/>
              </a:prstGeom>
              <a:grpFill/>
              <a:ln>
                <a:noFill/>
              </a:ln>
            </p:spPr>
            <p:txBody>
              <a:bodyPr wrap="none">
                <a:spAutoFit/>
              </a:bodyPr>
              <a:lstStyle/>
              <a:p>
                <a:r>
                  <a:rPr lang="en-US" sz="1350" dirty="0">
                    <a:gradFill>
                      <a:gsLst>
                        <a:gs pos="2917">
                          <a:srgbClr val="505050"/>
                        </a:gs>
                        <a:gs pos="30000">
                          <a:srgbClr val="505050"/>
                        </a:gs>
                      </a:gsLst>
                      <a:lin ang="5400000" scaled="0"/>
                    </a:gradFill>
                  </a:rPr>
                  <a:t>Consumer IDP 2</a:t>
                </a:r>
                <a:endParaRPr lang="en-US" sz="1350" dirty="0">
                  <a:solidFill>
                    <a:srgbClr val="1A1A1A"/>
                  </a:solidFill>
                </a:endParaRPr>
              </a:p>
            </p:txBody>
          </p:sp>
          <p:sp>
            <p:nvSpPr>
              <p:cNvPr id="109" name="Rectangle 108"/>
              <p:cNvSpPr/>
              <p:nvPr/>
            </p:nvSpPr>
            <p:spPr bwMode="auto">
              <a:xfrm>
                <a:off x="8117013" y="5719293"/>
                <a:ext cx="2450848" cy="409713"/>
              </a:xfrm>
              <a:prstGeom prst="rect">
                <a:avLst/>
              </a:prstGeom>
              <a:no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2" rIns="137141" bIns="109712" numCol="1" spcCol="0" rtlCol="0" fromWordArt="0" anchor="ctr" anchorCtr="0" forceAA="0" compatLnSpc="1">
                <a:prstTxWarp prst="textNoShape">
                  <a:avLst/>
                </a:prstTxWarp>
                <a:noAutofit/>
              </a:bodyPr>
              <a:lstStyle/>
              <a:p>
                <a:pPr algn="ctr" defTabSz="699291" fontAlgn="base">
                  <a:lnSpc>
                    <a:spcPct val="90000"/>
                  </a:lnSpc>
                  <a:spcBef>
                    <a:spcPct val="0"/>
                  </a:spcBef>
                  <a:spcAft>
                    <a:spcPct val="0"/>
                  </a:spcAft>
                </a:pPr>
                <a:endParaRPr lang="en-US" dirty="0">
                  <a:gradFill>
                    <a:gsLst>
                      <a:gs pos="2917">
                        <a:srgbClr val="505050"/>
                      </a:gs>
                      <a:gs pos="30000">
                        <a:srgbClr val="505050"/>
                      </a:gs>
                    </a:gsLst>
                    <a:lin ang="5400000" scaled="0"/>
                  </a:gradFill>
                </a:endParaRPr>
              </a:p>
            </p:txBody>
          </p:sp>
        </p:grpSp>
        <p:cxnSp>
          <p:nvCxnSpPr>
            <p:cNvPr id="110" name="Elbow Connector 109"/>
            <p:cNvCxnSpPr>
              <a:stCxn id="82" idx="2"/>
              <a:endCxn id="105" idx="1"/>
            </p:cNvCxnSpPr>
            <p:nvPr/>
          </p:nvCxnSpPr>
          <p:spPr>
            <a:xfrm rot="5400000" flipH="1" flipV="1">
              <a:off x="3743909" y="3324155"/>
              <a:ext cx="1287751" cy="2197631"/>
            </a:xfrm>
            <a:prstGeom prst="bentConnector4">
              <a:avLst>
                <a:gd name="adj1" fmla="val -18105"/>
                <a:gd name="adj2" fmla="val 60454"/>
              </a:avLst>
            </a:prstGeom>
            <a:grpFill/>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1" name="Elbow Connector 110"/>
            <p:cNvCxnSpPr>
              <a:stCxn id="82" idx="2"/>
              <a:endCxn id="101" idx="1"/>
            </p:cNvCxnSpPr>
            <p:nvPr/>
          </p:nvCxnSpPr>
          <p:spPr>
            <a:xfrm rot="5400000" flipH="1" flipV="1">
              <a:off x="3533450" y="3111439"/>
              <a:ext cx="1710929" cy="2199890"/>
            </a:xfrm>
            <a:prstGeom prst="bentConnector4">
              <a:avLst>
                <a:gd name="adj1" fmla="val -9456"/>
                <a:gd name="adj2" fmla="val 60443"/>
              </a:avLst>
            </a:prstGeom>
            <a:grpFill/>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12" name="Rectangle 111"/>
            <p:cNvSpPr/>
            <p:nvPr/>
          </p:nvSpPr>
          <p:spPr bwMode="auto">
            <a:xfrm>
              <a:off x="8193768" y="3039039"/>
              <a:ext cx="2318921" cy="1559396"/>
            </a:xfrm>
            <a:prstGeom prst="rect">
              <a:avLst/>
            </a:prstGeom>
            <a:grp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2" rIns="137141" bIns="109712" numCol="1" spcCol="0" rtlCol="0" fromWordArt="0" anchor="ctr" anchorCtr="0" forceAA="0" compatLnSpc="1">
              <a:prstTxWarp prst="textNoShape">
                <a:avLst/>
              </a:prstTxWarp>
              <a:noAutofit/>
            </a:bodyPr>
            <a:lstStyle/>
            <a:p>
              <a:pPr algn="ctr" defTabSz="699291" fontAlgn="base">
                <a:lnSpc>
                  <a:spcPct val="90000"/>
                </a:lnSpc>
                <a:spcBef>
                  <a:spcPct val="0"/>
                </a:spcBef>
                <a:spcAft>
                  <a:spcPct val="0"/>
                </a:spcAft>
              </a:pPr>
              <a:endParaRPr lang="en-US" dirty="0">
                <a:gradFill>
                  <a:gsLst>
                    <a:gs pos="2917">
                      <a:srgbClr val="505050"/>
                    </a:gs>
                    <a:gs pos="30000">
                      <a:srgbClr val="505050"/>
                    </a:gs>
                  </a:gsLst>
                  <a:lin ang="5400000" scaled="0"/>
                </a:gradFill>
              </a:endParaRPr>
            </a:p>
          </p:txBody>
        </p:sp>
        <p:sp>
          <p:nvSpPr>
            <p:cNvPr id="113" name="Rectangle 112"/>
            <p:cNvSpPr/>
            <p:nvPr/>
          </p:nvSpPr>
          <p:spPr>
            <a:xfrm>
              <a:off x="8547934" y="2661606"/>
              <a:ext cx="1307219" cy="212386"/>
            </a:xfrm>
            <a:prstGeom prst="rect">
              <a:avLst/>
            </a:prstGeom>
            <a:noFill/>
            <a:ln>
              <a:noFill/>
            </a:ln>
          </p:spPr>
          <p:txBody>
            <a:bodyPr wrap="none">
              <a:spAutoFit/>
            </a:bodyPr>
            <a:lstStyle/>
            <a:p>
              <a:r>
                <a:rPr lang="en-US" sz="1350" b="1" dirty="0">
                  <a:gradFill>
                    <a:gsLst>
                      <a:gs pos="2917">
                        <a:srgbClr val="505050"/>
                      </a:gs>
                      <a:gs pos="30000">
                        <a:srgbClr val="505050"/>
                      </a:gs>
                    </a:gsLst>
                    <a:lin ang="5400000" scaled="0"/>
                  </a:gradFill>
                </a:rPr>
                <a:t>Enterprise Container</a:t>
              </a:r>
              <a:endParaRPr lang="en-US" sz="1350" b="1" dirty="0">
                <a:solidFill>
                  <a:srgbClr val="1A1A1A"/>
                </a:solidFill>
              </a:endParaRPr>
            </a:p>
          </p:txBody>
        </p:sp>
        <p:grpSp>
          <p:nvGrpSpPr>
            <p:cNvPr id="114" name="Group 113"/>
            <p:cNvGrpSpPr/>
            <p:nvPr/>
          </p:nvGrpSpPr>
          <p:grpSpPr>
            <a:xfrm>
              <a:off x="8448700" y="3199853"/>
              <a:ext cx="1837875" cy="316185"/>
              <a:chOff x="8117013" y="5719293"/>
              <a:chExt cx="2450848" cy="421639"/>
            </a:xfrm>
            <a:grpFill/>
          </p:grpSpPr>
          <p:sp>
            <p:nvSpPr>
              <p:cNvPr id="115" name="Right Arrow 114"/>
              <p:cNvSpPr/>
              <p:nvPr/>
            </p:nvSpPr>
            <p:spPr bwMode="auto">
              <a:xfrm>
                <a:off x="8252352" y="5792610"/>
                <a:ext cx="310960" cy="249711"/>
              </a:xfrm>
              <a:prstGeom prst="rightArrow">
                <a:avLst/>
              </a:prstGeom>
              <a:solidFill>
                <a:srgbClr val="06BFF2"/>
              </a:solidFill>
              <a:ln>
                <a:solidFill>
                  <a:srgbClr val="00BC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2" rIns="137141" bIns="109712" numCol="1" spcCol="0" rtlCol="0" fromWordArt="0" anchor="t" anchorCtr="0" forceAA="0" compatLnSpc="1">
                <a:prstTxWarp prst="textNoShape">
                  <a:avLst/>
                </a:prstTxWarp>
                <a:noAutofit/>
              </a:bodyPr>
              <a:lstStyle/>
              <a:p>
                <a:pPr algn="ctr" defTabSz="699291" fontAlgn="base">
                  <a:lnSpc>
                    <a:spcPct val="90000"/>
                  </a:lnSpc>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116" name="Rectangle 115"/>
              <p:cNvSpPr/>
              <p:nvPr/>
            </p:nvSpPr>
            <p:spPr>
              <a:xfrm>
                <a:off x="8563312" y="5732800"/>
                <a:ext cx="1712238" cy="408132"/>
              </a:xfrm>
              <a:prstGeom prst="rect">
                <a:avLst/>
              </a:prstGeom>
              <a:grpFill/>
              <a:ln>
                <a:noFill/>
              </a:ln>
            </p:spPr>
            <p:txBody>
              <a:bodyPr wrap="none">
                <a:spAutoFit/>
              </a:bodyPr>
              <a:lstStyle/>
              <a:p>
                <a:r>
                  <a:rPr lang="en-US" sz="1350" dirty="0">
                    <a:gradFill>
                      <a:gsLst>
                        <a:gs pos="2917">
                          <a:srgbClr val="505050"/>
                        </a:gs>
                        <a:gs pos="30000">
                          <a:srgbClr val="505050"/>
                        </a:gs>
                      </a:gsLst>
                      <a:lin ang="5400000" scaled="0"/>
                    </a:gradFill>
                  </a:rPr>
                  <a:t>Enterprise IDP</a:t>
                </a:r>
                <a:endParaRPr lang="en-US" sz="1350" dirty="0">
                  <a:solidFill>
                    <a:srgbClr val="1A1A1A"/>
                  </a:solidFill>
                </a:endParaRPr>
              </a:p>
            </p:txBody>
          </p:sp>
          <p:sp>
            <p:nvSpPr>
              <p:cNvPr id="117" name="Rectangle 116"/>
              <p:cNvSpPr/>
              <p:nvPr/>
            </p:nvSpPr>
            <p:spPr bwMode="auto">
              <a:xfrm>
                <a:off x="8117013" y="5719293"/>
                <a:ext cx="2450848" cy="416233"/>
              </a:xfrm>
              <a:prstGeom prst="rect">
                <a:avLst/>
              </a:prstGeom>
              <a:no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2" rIns="137141" bIns="109712" numCol="1" spcCol="0" rtlCol="0" fromWordArt="0" anchor="ctr" anchorCtr="0" forceAA="0" compatLnSpc="1">
                <a:prstTxWarp prst="textNoShape">
                  <a:avLst/>
                </a:prstTxWarp>
                <a:noAutofit/>
              </a:bodyPr>
              <a:lstStyle/>
              <a:p>
                <a:pPr algn="ctr" defTabSz="699291" fontAlgn="base">
                  <a:lnSpc>
                    <a:spcPct val="90000"/>
                  </a:lnSpc>
                  <a:spcBef>
                    <a:spcPct val="0"/>
                  </a:spcBef>
                  <a:spcAft>
                    <a:spcPct val="0"/>
                  </a:spcAft>
                </a:pPr>
                <a:endParaRPr lang="en-US" dirty="0">
                  <a:gradFill>
                    <a:gsLst>
                      <a:gs pos="2917">
                        <a:srgbClr val="505050"/>
                      </a:gs>
                      <a:gs pos="30000">
                        <a:srgbClr val="505050"/>
                      </a:gs>
                    </a:gsLst>
                    <a:lin ang="5400000" scaled="0"/>
                  </a:gradFill>
                </a:endParaRPr>
              </a:p>
            </p:txBody>
          </p:sp>
        </p:grpSp>
        <p:cxnSp>
          <p:nvCxnSpPr>
            <p:cNvPr id="118" name="Elbow Connector 117"/>
            <p:cNvCxnSpPr>
              <a:stCxn id="82" idx="2"/>
              <a:endCxn id="117" idx="1"/>
            </p:cNvCxnSpPr>
            <p:nvPr/>
          </p:nvCxnSpPr>
          <p:spPr>
            <a:xfrm rot="5400000" flipH="1" flipV="1">
              <a:off x="5013369" y="1631516"/>
              <a:ext cx="1710931" cy="5159731"/>
            </a:xfrm>
            <a:prstGeom prst="bentConnector4">
              <a:avLst>
                <a:gd name="adj1" fmla="val -13627"/>
                <a:gd name="adj2" fmla="val 88204"/>
              </a:avLst>
            </a:prstGeom>
            <a:grpFill/>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76075060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IMING" val="|0.1|0.2"/>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ags/tag2.xml><?xml version="1.0" encoding="utf-8"?>
<p:tagLst xmlns:a="http://schemas.openxmlformats.org/drawingml/2006/main" xmlns:r="http://schemas.openxmlformats.org/officeDocument/2006/relationships" xmlns:p="http://schemas.openxmlformats.org/presentationml/2006/main">
  <p:tag name="TIMING" val="|0.2|0.8|0.8|2"/>
</p:tagLst>
</file>

<file path=ppt/tags/tag3.xml><?xml version="1.0" encoding="utf-8"?>
<p:tagLst xmlns:a="http://schemas.openxmlformats.org/drawingml/2006/main" xmlns:r="http://schemas.openxmlformats.org/officeDocument/2006/relationships" xmlns:p="http://schemas.openxmlformats.org/presentationml/2006/main">
  <p:tag name="TIMING" val="|0.6|1.1|0.8|0.8"/>
</p:tagLst>
</file>

<file path=ppt/tags/tag4.xml><?xml version="1.0" encoding="utf-8"?>
<p:tagLst xmlns:a="http://schemas.openxmlformats.org/drawingml/2006/main" xmlns:r="http://schemas.openxmlformats.org/officeDocument/2006/relationships" xmlns:p="http://schemas.openxmlformats.org/presentationml/2006/main">
  <p:tag name="TIMING" val="|0.6|0.2|0.1|0.2|0.1"/>
</p:tagLst>
</file>

<file path=ppt/tags/tag5.xml><?xml version="1.0" encoding="utf-8"?>
<p:tagLst xmlns:a="http://schemas.openxmlformats.org/drawingml/2006/main" xmlns:r="http://schemas.openxmlformats.org/officeDocument/2006/relationships" xmlns:p="http://schemas.openxmlformats.org/presentationml/2006/main">
  <p:tag name="TIMING" val="|0.1|0.2"/>
</p:tagLst>
</file>

<file path=ppt/tags/tag6.xml><?xml version="1.0" encoding="utf-8"?>
<p:tagLst xmlns:a="http://schemas.openxmlformats.org/drawingml/2006/main" xmlns:r="http://schemas.openxmlformats.org/officeDocument/2006/relationships" xmlns:p="http://schemas.openxmlformats.org/presentationml/2006/main">
  <p:tag name="TIMING" val="|0.8|0.5|0.5|0.8|0.6|0.5|0.7"/>
</p:tagLst>
</file>

<file path=ppt/tags/tag7.xml><?xml version="1.0" encoding="utf-8"?>
<p:tagLst xmlns:a="http://schemas.openxmlformats.org/drawingml/2006/main" xmlns:r="http://schemas.openxmlformats.org/officeDocument/2006/relationships" xmlns:p="http://schemas.openxmlformats.org/presentationml/2006/main">
  <p:tag name="TIMING" val="|0.3|0.5|0.4"/>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ags/tag9.xml><?xml version="1.0" encoding="utf-8"?>
<p:tagLst xmlns:a="http://schemas.openxmlformats.org/drawingml/2006/main" xmlns:r="http://schemas.openxmlformats.org/officeDocument/2006/relationships" xmlns:p="http://schemas.openxmlformats.org/presentationml/2006/main">
  <p:tag name="TIMING" val="|0.3|0.8|0.7"/>
</p:tagLst>
</file>

<file path=ppt/theme/theme1.xml><?xml version="1.0" encoding="utf-8"?>
<a:theme xmlns:a="http://schemas.openxmlformats.org/drawingml/2006/main" name="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_v02.potx" id="{DA6A3121-A306-4E81-BF43-CBCE095D8B76}" vid="{C3266B5A-74AF-44F8-8FA8-F258E4A695D4}"/>
    </a:ext>
  </a:extLst>
</a:theme>
</file>

<file path=ppt/theme/theme2.xml><?xml version="1.0" encoding="utf-8"?>
<a:theme xmlns:a="http://schemas.openxmlformats.org/drawingml/2006/main" name="1_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potx" id="{1A2CE55D-C0EF-4064-A39F-620642E032AA}" vid="{A3A9C9DA-6617-4D3E-A382-CDB23C8F3BF1}"/>
    </a:ext>
  </a:extLst>
</a:theme>
</file>

<file path=ppt/theme/theme3.xml><?xml version="1.0" encoding="utf-8"?>
<a:theme xmlns:a="http://schemas.openxmlformats.org/drawingml/2006/main" name="Modern Theme">
  <a:themeElements>
    <a:clrScheme name="Metro">
      <a:dk1>
        <a:srgbClr val="1A1A1A"/>
      </a:dk1>
      <a:lt1>
        <a:sysClr val="window" lastClr="FFFFFF"/>
      </a:lt1>
      <a:dk2>
        <a:srgbClr val="1F497D"/>
      </a:dk2>
      <a:lt2>
        <a:srgbClr val="EEECE1"/>
      </a:lt2>
      <a:accent1>
        <a:srgbClr val="00B9F2"/>
      </a:accent1>
      <a:accent2>
        <a:srgbClr val="EBD23F"/>
      </a:accent2>
      <a:accent3>
        <a:srgbClr val="79C21A"/>
      </a:accent3>
      <a:accent4>
        <a:srgbClr val="E85FA6"/>
      </a:accent4>
      <a:accent5>
        <a:srgbClr val="EA9C2D"/>
      </a:accent5>
      <a:accent6>
        <a:srgbClr val="BB4AD2"/>
      </a:accent6>
      <a:hlink>
        <a:srgbClr val="00B9F2"/>
      </a:hlink>
      <a:folHlink>
        <a:srgbClr val="008AB5"/>
      </a:folHlink>
    </a:clrScheme>
    <a:fontScheme name="Metro">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Modern Theme" id="{1A6A298E-4D9C-4B22-B3E2-AE741D7793E1}" vid="{AA4E4937-6EB2-47D3-8823-93726C9CDE2D}"/>
    </a:ext>
  </a:extLst>
</a:theme>
</file>

<file path=ppt/theme/theme4.xml><?xml version="1.0" encoding="utf-8"?>
<a:theme xmlns:a="http://schemas.openxmlformats.org/drawingml/2006/main" name="5-30606_TR20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EB8091BA-E5A9-40E6-8123-7943DC20CA20}" vid="{F1B13A7B-B70F-4D1A-AE6D-53912D2B6EC0}"/>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PresentationsDoc" ma:contentTypeID="0x01010046EBBE4F454C2C47A5E89CD935B1FC7800E83BCD34BAE21044A0567CF64FDFDE54" ma:contentTypeVersion="3" ma:contentTypeDescription="Create a new document." ma:contentTypeScope="" ma:versionID="ad0318b59f0baaa5619a87a276b8590a">
  <xsd:schema xmlns:xsd="http://www.w3.org/2001/XMLSchema" xmlns:xs="http://www.w3.org/2001/XMLSchema" xmlns:p="http://schemas.microsoft.com/office/2006/metadata/properties" xmlns:ns1="http://schemas.microsoft.com/sharepoint/v3" xmlns:ns2="12a172fe-0250-434a-85cf-03b10810c5e5" xmlns:ns3="230e9df3-be65-4c73-a93b-d1236ebd677e" targetNamespace="http://schemas.microsoft.com/office/2006/metadata/properties" ma:root="true" ma:fieldsID="26205b5b46d9ab9d881e0fa75366d1c2" ns1:_="" ns2:_="" ns3:_="">
    <xsd:import namespace="http://schemas.microsoft.com/sharepoint/v3"/>
    <xsd:import namespace="12a172fe-0250-434a-85cf-03b10810c5e5"/>
    <xsd:import namespace="230e9df3-be65-4c73-a93b-d1236ebd677e"/>
    <xsd:element name="properties">
      <xsd:complexType>
        <xsd:sequence>
          <xsd:element name="documentManagement">
            <xsd:complexType>
              <xsd:all>
                <xsd:element ref="ns2:k62f7d35b80b40fb8c27985e50b34fcd" minOccurs="0"/>
                <xsd:element ref="ns3:TaxCatchAll" minOccurs="0"/>
                <xsd:element ref="ns3:TaxCatchAllLabel" minOccurs="0"/>
                <xsd:element ref="ns2:pfbfa50075a04958bd8757dc155d3e08" minOccurs="0"/>
                <xsd:element ref="ns2:h9a868b2ee15488883f623ae5237ecae" minOccurs="0"/>
                <xsd:element ref="ns2:Event_x0020_Start_x0020_Date" minOccurs="0"/>
                <xsd:element ref="ns2:Event_x0020_End_x0020_Date" minOccurs="0"/>
                <xsd:element ref="ns2:Presentation_x0020_Date" minOccurs="0"/>
                <xsd:element ref="ns2:MS_x0020_Speaker" minOccurs="0"/>
                <xsd:element ref="ns2:External_x0020_Speaker" minOccurs="0"/>
                <xsd:element ref="ns2:o72fbe6ee5ae4131af0832c08ec51202" minOccurs="0"/>
                <xsd:element ref="ns2:eb9cf3a3af7b473faa5c9c98148a90a4" minOccurs="0"/>
                <xsd:element ref="ns2:Session_x0020_Code" minOccurs="0"/>
                <xsd:element ref="ns2:MS_x0020_Content_x0020_Owner" minOccurs="0"/>
                <xsd:element ref="ns2:le8386062bd54e24a95c83b32ccbdb34" minOccurs="0"/>
                <xsd:element ref="ns2:j4d4d959795b4220a289a041ed046605" minOccurs="0"/>
                <xsd:element ref="ns3:TaxKeywordTaxHTField" minOccurs="0"/>
                <xsd:element ref="ns1:AverageRating" minOccurs="0"/>
                <xsd:element ref="ns1:RatingCount" minOccurs="0"/>
                <xsd:element ref="ns1:LikesCoun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AverageRating" ma:index="33" nillable="true" ma:displayName="Rating (0-5)" ma:decimals="2" ma:description="Average value of all the ratings that have been submitted" ma:internalName="AverageRating" ma:readOnly="true">
      <xsd:simpleType>
        <xsd:restriction base="dms:Number"/>
      </xsd:simpleType>
    </xsd:element>
    <xsd:element name="RatingCount" ma:index="34" nillable="true" ma:displayName="Number of Ratings" ma:decimals="0" ma:description="Number of ratings submitted" ma:internalName="RatingCount" ma:readOnly="true">
      <xsd:simpleType>
        <xsd:restriction base="dms:Number"/>
      </xsd:simpleType>
    </xsd:element>
    <xsd:element name="LikesCount" ma:index="35" nillable="true" ma:displayName="Number of Likes" ma:internalName="LikesCount">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12a172fe-0250-434a-85cf-03b10810c5e5" elementFormDefault="qualified">
    <xsd:import namespace="http://schemas.microsoft.com/office/2006/documentManagement/types"/>
    <xsd:import namespace="http://schemas.microsoft.com/office/infopath/2007/PartnerControls"/>
    <xsd:element name="k62f7d35b80b40fb8c27985e50b34fcd" ma:index="8" nillable="true" ma:taxonomy="true" ma:internalName="k62f7d35b80b40fb8c27985e50b34fcd" ma:taxonomyFieldName="Event_x0020_Name" ma:displayName="Event Name" ma:default="" ma:fieldId="{462f7d35-b80b-40fb-8c27-985e50b34fcd}" ma:sspId="e385fb40-52d4-4fae-9c5b-3e8ff8a5878e" ma:termSetId="32cfb7b5-aebe-4989-95ed-0d5619f5d6c0" ma:anchorId="eaa4d92a-3824-4a49-92be-7ef169e4e325" ma:open="false" ma:isKeyword="false">
      <xsd:complexType>
        <xsd:sequence>
          <xsd:element ref="pc:Terms" minOccurs="0" maxOccurs="1"/>
        </xsd:sequence>
      </xsd:complexType>
    </xsd:element>
    <xsd:element name="pfbfa50075a04958bd8757dc155d3e08" ma:index="12" nillable="true" ma:taxonomy="true" ma:internalName="pfbfa50075a04958bd8757dc155d3e08" ma:taxonomyFieldName="Event_x0020_Location" ma:displayName="Event Location" ma:default="" ma:fieldId="{9fbfa500-75a0-4958-bd87-57dc155d3e08}" ma:sspId="e385fb40-52d4-4fae-9c5b-3e8ff8a5878e" ma:termSetId="ff02addd-433e-4baa-a831-22be402789db" ma:anchorId="00000000-0000-0000-0000-000000000000" ma:open="false" ma:isKeyword="false">
      <xsd:complexType>
        <xsd:sequence>
          <xsd:element ref="pc:Terms" minOccurs="0" maxOccurs="1"/>
        </xsd:sequence>
      </xsd:complexType>
    </xsd:element>
    <xsd:element name="h9a868b2ee15488883f623ae5237ecae" ma:index="14" nillable="true" ma:taxonomy="true" ma:internalName="h9a868b2ee15488883f623ae5237ecae" ma:taxonomyFieldName="Event_x0020_Venue" ma:displayName="Event Venue" ma:default="" ma:fieldId="{19a868b2-ee15-4888-83f6-23ae5237ecae}" ma:sspId="e385fb40-52d4-4fae-9c5b-3e8ff8a5878e" ma:termSetId="ff02addd-433e-4baa-a831-22be402789db" ma:anchorId="d989be80-0593-11e1-be50-0800200c9a66" ma:open="false" ma:isKeyword="false">
      <xsd:complexType>
        <xsd:sequence>
          <xsd:element ref="pc:Terms" minOccurs="0" maxOccurs="1"/>
        </xsd:sequence>
      </xsd:complexType>
    </xsd:element>
    <xsd:element name="Event_x0020_Start_x0020_Date" ma:index="16" nillable="true" ma:displayName="Event Start Date" ma:format="DateOnly" ma:internalName="Event_x0020_Start_x0020_Date">
      <xsd:simpleType>
        <xsd:restriction base="dms:DateTime"/>
      </xsd:simpleType>
    </xsd:element>
    <xsd:element name="Event_x0020_End_x0020_Date" ma:index="17" nillable="true" ma:displayName="Event End Date" ma:format="DateOnly" ma:internalName="Event_x0020_End_x0020_Date">
      <xsd:simpleType>
        <xsd:restriction base="dms:DateTime"/>
      </xsd:simpleType>
    </xsd:element>
    <xsd:element name="Presentation_x0020_Date" ma:index="18" nillable="true" ma:displayName="Presentation Date" ma:format="DateOnly" ma:internalName="Presentation_x0020_Date">
      <xsd:simpleType>
        <xsd:restriction base="dms:DateTime"/>
      </xsd:simpleType>
    </xsd:element>
    <xsd:element name="MS_x0020_Speaker" ma:index="19" nillable="true" ma:displayName="MS Speaker" ma:list="UserInfo" ma:SharePointGroup="0" ma:internalName="MS_x0020_Speaker"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ternal_x0020_Speaker" ma:index="20" nillable="true" ma:displayName="External Speaker" ma:internalName="External_x0020_Speaker">
      <xsd:simpleType>
        <xsd:restriction base="dms:Text">
          <xsd:maxLength value="255"/>
        </xsd:restriction>
      </xsd:simpleType>
    </xsd:element>
    <xsd:element name="o72fbe6ee5ae4131af0832c08ec51202" ma:index="21" nillable="true" ma:taxonomy="true" ma:internalName="o72fbe6ee5ae4131af0832c08ec51202" ma:taxonomyFieldName="Product" ma:displayName="Product" ma:default="" ma:fieldId="{872fbe6e-e5ae-4131-af08-32c08ec51202}" ma:taxonomyMulti="true" ma:sspId="e385fb40-52d4-4fae-9c5b-3e8ff8a5878e" ma:termSetId="e8298524-23d5-441d-8e61-21bed1c2c470" ma:anchorId="00000000-0000-0000-0000-000000000000" ma:open="false" ma:isKeyword="false">
      <xsd:complexType>
        <xsd:sequence>
          <xsd:element ref="pc:Terms" minOccurs="0" maxOccurs="1"/>
        </xsd:sequence>
      </xsd:complexType>
    </xsd:element>
    <xsd:element name="eb9cf3a3af7b473faa5c9c98148a90a4" ma:index="23" nillable="true" ma:taxonomy="true" ma:internalName="eb9cf3a3af7b473faa5c9c98148a90a4" ma:taxonomyFieldName="Campaign" ma:displayName="Campaign" ma:default="" ma:fieldId="{eb9cf3a3-af7b-473f-aa5c-9c98148a90a4}" ma:sspId="e385fb40-52d4-4fae-9c5b-3e8ff8a5878e" ma:termSetId="eb6054b1-3a98-4c79-97b4-d20150dd266e" ma:anchorId="a7bf803d-fc4f-4bb4-903c-88e76437cc17" ma:open="false" ma:isKeyword="false">
      <xsd:complexType>
        <xsd:sequence>
          <xsd:element ref="pc:Terms" minOccurs="0" maxOccurs="1"/>
        </xsd:sequence>
      </xsd:complexType>
    </xsd:element>
    <xsd:element name="Session_x0020_Code" ma:index="25" nillable="true" ma:displayName="Session Code" ma:internalName="Session_x0020_Code">
      <xsd:simpleType>
        <xsd:restriction base="dms:Text">
          <xsd:maxLength value="255"/>
        </xsd:restriction>
      </xsd:simpleType>
    </xsd:element>
    <xsd:element name="MS_x0020_Content_x0020_Owner" ma:index="26" nillable="true" ma:displayName="MS Content Owner" ma:list="UserInfo" ma:SharePointGroup="0" ma:internalName="MS_x0020_Content_x0020_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le8386062bd54e24a95c83b32ccbdb34" ma:index="27" nillable="true" ma:taxonomy="true" ma:internalName="le8386062bd54e24a95c83b32ccbdb34" ma:taxonomyFieldName="Track" ma:displayName="Track" ma:default="" ma:fieldId="{5e838606-2bd5-4e24-a95c-83b32ccbdb34}" ma:sspId="e385fb40-52d4-4fae-9c5b-3e8ff8a5878e" ma:termSetId="043e2b11-12ce-49cc-a347-2f73f2b7fe4b" ma:anchorId="00000000-0000-0000-0000-000000000000" ma:open="false" ma:isKeyword="false">
      <xsd:complexType>
        <xsd:sequence>
          <xsd:element ref="pc:Terms" minOccurs="0" maxOccurs="1"/>
        </xsd:sequence>
      </xsd:complexType>
    </xsd:element>
    <xsd:element name="j4d4d959795b4220a289a041ed046605" ma:index="29" nillable="true" ma:taxonomy="true" ma:internalName="j4d4d959795b4220a289a041ed046605" ma:taxonomyFieldName="Audience1" ma:displayName="Audience" ma:default="" ma:fieldId="{34d4d959-795b-4220-a289-a041ed046605}" ma:sspId="e385fb40-52d4-4fae-9c5b-3e8ff8a5878e" ma:termSetId="02c0b350-7782-44ed-b079-a5ef0c1b9fe9"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9" nillable="true" ma:displayName="Taxonomy Catch All Column" ma:hidden="true" ma:list="{5b797c71-5459-41dc-9095-63a63c56aa91}" ma:internalName="TaxCatchAll" ma:showField="CatchAllData" ma:web="12a172fe-0250-434a-85cf-03b10810c5e5">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5b797c71-5459-41dc-9095-63a63c56aa91}" ma:internalName="TaxCatchAllLabel" ma:readOnly="true" ma:showField="CatchAllDataLabel" ma:web="12a172fe-0250-434a-85cf-03b10810c5e5">
      <xsd:complexType>
        <xsd:complexContent>
          <xsd:extension base="dms:MultiChoiceLookup">
            <xsd:sequence>
              <xsd:element name="Value" type="dms:Lookup" maxOccurs="unbounded" minOccurs="0" nillable="true"/>
            </xsd:sequence>
          </xsd:extension>
        </xsd:complexContent>
      </xsd:complexType>
    </xsd:element>
    <xsd:element name="TaxKeywordTaxHTField" ma:index="31"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ma:index="36"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h9a868b2ee15488883f623ae5237ecae xmlns="12a172fe-0250-434a-85cf-03b10810c5e5">
      <Terms xmlns="http://schemas.microsoft.com/office/infopath/2007/PartnerControls">
        <TermInfo xmlns="http://schemas.microsoft.com/office/infopath/2007/PartnerControls">
          <TermName xmlns="http://schemas.microsoft.com/office/infopath/2007/PartnerControls">McCormick Place</TermName>
          <TermId xmlns="http://schemas.microsoft.com/office/infopath/2007/PartnerControls">f42e8eaa-659e-42d3-85a5-a4ea6b6d2ed7</TermId>
        </TermInfo>
      </Terms>
    </h9a868b2ee15488883f623ae5237ecae>
    <k62f7d35b80b40fb8c27985e50b34fcd xmlns="12a172fe-0250-434a-85cf-03b10810c5e5">
      <Terms xmlns="http://schemas.microsoft.com/office/infopath/2007/PartnerControls">
        <TermInfo xmlns="http://schemas.microsoft.com/office/infopath/2007/PartnerControls">
          <TermName xmlns="http://schemas.microsoft.com/office/infopath/2007/PartnerControls">Microsoft Ignite</TermName>
          <TermId xmlns="http://schemas.microsoft.com/office/infopath/2007/PartnerControls">9323c522-fe4b-4922-816b-10a1920d7afb</TermId>
        </TermInfo>
      </Terms>
    </k62f7d35b80b40fb8c27985e50b34fcd>
    <LikesCount xmlns="http://schemas.microsoft.com/sharepoint/v3" xsi:nil="true"/>
    <pfbfa50075a04958bd8757dc155d3e08 xmlns="12a172fe-0250-434a-85cf-03b10810c5e5">
      <Terms xmlns="http://schemas.microsoft.com/office/infopath/2007/PartnerControls">
        <TermInfo xmlns="http://schemas.microsoft.com/office/infopath/2007/PartnerControls">
          <TermName xmlns="http://schemas.microsoft.com/office/infopath/2007/PartnerControls">Chicago</TermName>
          <TermId xmlns="http://schemas.microsoft.com/office/infopath/2007/PartnerControls">b2ea4b94-6e68-4e03-872e-ca2dcc35a47e</TermId>
        </TermInfo>
      </Terms>
    </pfbfa50075a04958bd8757dc155d3e08>
    <Presentation_x0020_Date xmlns="12a172fe-0250-434a-85cf-03b10810c5e5">2015-05-06T00:00:00-05:00</Presentation_x0020_Date>
    <o72fbe6ee5ae4131af0832c08ec51202 xmlns="12a172fe-0250-434a-85cf-03b10810c5e5">
      <Terms xmlns="http://schemas.microsoft.com/office/infopath/2007/PartnerControls"/>
    </o72fbe6ee5ae4131af0832c08ec51202>
    <Event_x0020_Start_x0020_Date xmlns="12a172fe-0250-434a-85cf-03b10810c5e5">2015-05-04T07:00:00+00:00</Event_x0020_Start_x0020_Date>
    <MS_x0020_Content_x0020_Owner xmlns="12a172fe-0250-434a-85cf-03b10810c5e5">
      <UserInfo>
        <DisplayName/>
        <AccountId xsi:nil="true"/>
        <AccountType/>
      </UserInfo>
    </MS_x0020_Content_x0020_Owner>
    <MS_x0020_Speaker xmlns="12a172fe-0250-434a-85cf-03b10810c5e5">
      <UserInfo>
        <DisplayName/>
        <AccountId xsi:nil="true"/>
        <AccountType/>
      </UserInfo>
    </MS_x0020_Speaker>
    <External_x0020_Speaker xmlns="12a172fe-0250-434a-85cf-03b10810c5e5"> Nelly Porter</External_x0020_Speaker>
    <Session_x0020_Code xmlns="12a172fe-0250-434a-85cf-03b10810c5e5"> BRK2333</Session_x0020_Code>
    <le8386062bd54e24a95c83b32ccbdb34 xmlns="12a172fe-0250-434a-85cf-03b10810c5e5">
      <Terms xmlns="http://schemas.microsoft.com/office/infopath/2007/PartnerControls"/>
    </le8386062bd54e24a95c83b32ccbdb34>
    <j4d4d959795b4220a289a041ed046605 xmlns="12a172fe-0250-434a-85cf-03b10810c5e5">
      <Terms xmlns="http://schemas.microsoft.com/office/infopath/2007/PartnerControls"/>
    </j4d4d959795b4220a289a041ed046605>
    <Event_x0020_End_x0020_Date xmlns="12a172fe-0250-434a-85cf-03b10810c5e5">2015-05-08T07:00:00+00:00</Event_x0020_End_x0020_Date>
    <TaxKeywordTaxHTField xmlns="230e9df3-be65-4c73-a93b-d1236ebd677e">
      <Terms xmlns="http://schemas.microsoft.com/office/infopath/2007/PartnerControls">
        <TermInfo xmlns="http://schemas.microsoft.com/office/infopath/2007/PartnerControls">
          <TermName xmlns="http://schemas.microsoft.com/office/infopath/2007/PartnerControls">Microsoft Ignite 2015</TermName>
          <TermId xmlns="http://schemas.microsoft.com/office/infopath/2007/PartnerControls">9eb2896f-7457-4443-a47b-f60d2d30355c</TermId>
        </TermInfo>
      </Terms>
    </TaxKeywordTaxHTField>
    <TaxCatchAll xmlns="230e9df3-be65-4c73-a93b-d1236ebd677e">
      <Value>41</Value>
      <Value>44</Value>
      <Value>43</Value>
      <Value>42</Value>
    </TaxCatchAll>
    <eb9cf3a3af7b473faa5c9c98148a90a4 xmlns="12a172fe-0250-434a-85cf-03b10810c5e5">
      <Terms xmlns="http://schemas.microsoft.com/office/infopath/2007/PartnerControls"/>
    </eb9cf3a3af7b473faa5c9c98148a90a4>
  </documentManagement>
</p:properties>
</file>

<file path=customXml/itemProps1.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xml><?xml version="1.0" encoding="utf-8"?>
<ds:datastoreItem xmlns:ds="http://schemas.openxmlformats.org/officeDocument/2006/customXml" ds:itemID="{5D0DEFCE-63D4-4F88-8228-705C0AA7059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12a172fe-0250-434a-85cf-03b10810c5e5"/>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990F116-B58F-4255-B05B-DA3808E0E5C6}">
  <ds:schemaRefs>
    <ds:schemaRef ds:uri="http://purl.org/dc/dcmitype/"/>
    <ds:schemaRef ds:uri="http://www.w3.org/XML/1998/namespace"/>
    <ds:schemaRef ds:uri="http://schemas.microsoft.com/office/2006/documentManagement/types"/>
    <ds:schemaRef ds:uri="http://schemas.microsoft.com/office/infopath/2007/PartnerControls"/>
    <ds:schemaRef ds:uri="http://schemas.microsoft.com/sharepoint/v3"/>
    <ds:schemaRef ds:uri="http://purl.org/dc/elements/1.1/"/>
    <ds:schemaRef ds:uri="http://purl.org/dc/terms/"/>
    <ds:schemaRef ds:uri="12a172fe-0250-434a-85cf-03b10810c5e5"/>
    <ds:schemaRef ds:uri="http://schemas.openxmlformats.org/package/2006/metadata/core-properties"/>
    <ds:schemaRef ds:uri="230e9df3-be65-4c73-a93b-d1236ebd677e"/>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Microsoft_Ignite_2015_Breakout_Template_v02</Template>
  <TotalTime>76</TotalTime>
  <Words>2576</Words>
  <Application>Microsoft Office PowerPoint</Application>
  <PresentationFormat>Custom</PresentationFormat>
  <Paragraphs>392</Paragraphs>
  <Slides>43</Slides>
  <Notes>29</Notes>
  <HiddenSlides>0</HiddenSlides>
  <MMClips>2</MMClips>
  <ScaleCrop>false</ScaleCrop>
  <HeadingPairs>
    <vt:vector size="6" baseType="variant">
      <vt:variant>
        <vt:lpstr>Fonts Used</vt:lpstr>
      </vt:variant>
      <vt:variant>
        <vt:i4>12</vt:i4>
      </vt:variant>
      <vt:variant>
        <vt:lpstr>Theme</vt:lpstr>
      </vt:variant>
      <vt:variant>
        <vt:i4>4</vt:i4>
      </vt:variant>
      <vt:variant>
        <vt:lpstr>Slide Titles</vt:lpstr>
      </vt:variant>
      <vt:variant>
        <vt:i4>43</vt:i4>
      </vt:variant>
    </vt:vector>
  </HeadingPairs>
  <TitlesOfParts>
    <vt:vector size="59" baseType="lpstr">
      <vt:lpstr>Arial</vt:lpstr>
      <vt:lpstr>Consolas</vt:lpstr>
      <vt:lpstr>Courier New</vt:lpstr>
      <vt:lpstr>Segoe Light</vt:lpstr>
      <vt:lpstr>Segoe MDL2 Assets</vt:lpstr>
      <vt:lpstr>Segoe Semibold</vt:lpstr>
      <vt:lpstr>Segoe UI</vt:lpstr>
      <vt:lpstr>Segoe UI Black</vt:lpstr>
      <vt:lpstr>Segoe UI Light</vt:lpstr>
      <vt:lpstr>Segoe UI Semibold</vt:lpstr>
      <vt:lpstr>Segoe UI Semilight</vt:lpstr>
      <vt:lpstr>Wingdings</vt:lpstr>
      <vt:lpstr>5-30610_Microsoft_Ignite_Keynote_Template</vt:lpstr>
      <vt:lpstr>1_5-30610_Microsoft_Ignite_Keynote_Template</vt:lpstr>
      <vt:lpstr>Modern Theme</vt:lpstr>
      <vt:lpstr>5-30606_TR20_BO_CT_Template</vt:lpstr>
      <vt:lpstr>PowerPoint Presentation</vt:lpstr>
      <vt:lpstr>Goodbye Passwords,  Say Hello to Microsoft Passport</vt:lpstr>
      <vt:lpstr>PowerPoint Presentation</vt:lpstr>
      <vt:lpstr>PowerPoint Presentation</vt:lpstr>
      <vt:lpstr>PowerPoint Presentation</vt:lpstr>
      <vt:lpstr>PowerPoint Presentation</vt:lpstr>
      <vt:lpstr>PowerPoint Presentation</vt:lpstr>
      <vt:lpstr>    Authentication For Orgs &amp; Consumers </vt:lpstr>
      <vt:lpstr>Authentication For Orgs &amp; Consumers </vt:lpstr>
      <vt:lpstr>Passport 2Go </vt:lpstr>
      <vt:lpstr>PowerPoint Presentation</vt:lpstr>
      <vt:lpstr>Passport Story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ployment requirements Per Active Directory deployment configuration  </vt:lpstr>
      <vt:lpstr>Deployment requirements Per Active Directory deployment configuration  </vt:lpstr>
      <vt:lpstr>Deployment requirements Per Active Directory deployment configuration  </vt:lpstr>
      <vt:lpstr>Deployment requirements Per Active Directory deployment configuration  </vt:lpstr>
      <vt:lpstr>Passport Gestures </vt:lpstr>
      <vt:lpstr>Windows Hello</vt:lpstr>
      <vt:lpstr>Introducing Windows Hello “Winky”</vt:lpstr>
      <vt:lpstr>Windows Hello Security Requirements</vt:lpstr>
      <vt:lpstr>Summary</vt:lpstr>
      <vt:lpstr>PowerPoint Presentation</vt:lpstr>
      <vt:lpstr>PowerPoint Presentation</vt:lpstr>
    </vt:vector>
  </TitlesOfParts>
  <Manager/>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oodbye Passwords, Say Hello to Microsoft Passport</dc:title>
  <dc:subject>Microsoft Ignite 2015</dc:subject>
  <dc:creator>Shows</dc:creator>
  <cp:keywords>Microsoft Ignite 2015</cp:keywords>
  <dc:description>Template: Mitchell Derrey, Silver Fox Productions
Formatting: 
Audience Type: Internal/External</dc:description>
  <cp:lastModifiedBy>Brittany Hart</cp:lastModifiedBy>
  <cp:revision>4</cp:revision>
  <dcterms:created xsi:type="dcterms:W3CDTF">2015-05-05T21:40:28Z</dcterms:created>
  <dcterms:modified xsi:type="dcterms:W3CDTF">2015-05-06T15:42: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6EBBE4F454C2C47A5E89CD935B1FC7800E83BCD34BAE21044A0567CF64FDFDE54</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44;#McCormick Place|f42e8eaa-659e-42d3-85a5-a4ea6b6d2ed7</vt:lpwstr>
  </property>
  <property fmtid="{D5CDD505-2E9C-101B-9397-08002B2CF9AE}" pid="7" name="Track">
    <vt:lpwstr/>
  </property>
  <property fmtid="{D5CDD505-2E9C-101B-9397-08002B2CF9AE}" pid="8" name="Event Location">
    <vt:lpwstr>43;#Chicago|b2ea4b94-6e68-4e03-872e-ca2dcc35a47e</vt:lpwstr>
  </property>
  <property fmtid="{D5CDD505-2E9C-101B-9397-08002B2CF9AE}" pid="9" name="Campaign">
    <vt:lpwstr/>
  </property>
  <property fmtid="{D5CDD505-2E9C-101B-9397-08002B2CF9AE}" pid="10" name="IsMyDocuments">
    <vt:bool>true</vt:bool>
  </property>
  <property fmtid="{D5CDD505-2E9C-101B-9397-08002B2CF9AE}" pid="11" name="TaxKeyword">
    <vt:lpwstr>41;#Microsoft Ignite 2015|9eb2896f-7457-4443-a47b-f60d2d30355c</vt:lpwstr>
  </property>
  <property fmtid="{D5CDD505-2E9C-101B-9397-08002B2CF9AE}" pid="12" name="Audience1">
    <vt:lpwstr/>
  </property>
  <property fmtid="{D5CDD505-2E9C-101B-9397-08002B2CF9AE}" pid="13" name="Event Name">
    <vt:lpwstr>42;#Microsoft Ignite|9323c522-fe4b-4922-816b-10a1920d7afb</vt:lpwstr>
  </property>
</Properties>
</file>